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60" r:id="rId3"/>
    <p:sldId id="263" r:id="rId4"/>
    <p:sldId id="276" r:id="rId5"/>
    <p:sldId id="262" r:id="rId6"/>
    <p:sldId id="278" r:id="rId7"/>
    <p:sldId id="265" r:id="rId8"/>
    <p:sldId id="268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89CCC"/>
    <a:srgbClr val="E33272"/>
    <a:srgbClr val="EE84AA"/>
    <a:srgbClr val="BB275D"/>
    <a:srgbClr val="C4BD97"/>
    <a:srgbClr val="DDD9C3"/>
    <a:srgbClr val="97529C"/>
    <a:srgbClr val="7F7F7F"/>
    <a:srgbClr val="D258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6" autoAdjust="0"/>
    <p:restoredTop sz="94660"/>
  </p:normalViewPr>
  <p:slideViewPr>
    <p:cSldViewPr snapToGrid="0">
      <p:cViewPr varScale="1">
        <p:scale>
          <a:sx n="78" d="100"/>
          <a:sy n="78" d="100"/>
        </p:scale>
        <p:origin x="126" y="6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wmf"/><Relationship Id="rId4" Type="http://schemas.openxmlformats.org/officeDocument/2006/relationships/image" Target="../media/image23.wmf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wmf"/><Relationship Id="rId4" Type="http://schemas.openxmlformats.org/officeDocument/2006/relationships/image" Target="../media/image23.wm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5F64E49C-400F-482F-932E-690765A0C022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Morgens</a:t>
          </a:r>
          <a:br>
            <a:rPr lang="de-CH" dirty="0"/>
          </a:br>
          <a:r>
            <a:rPr lang="de-CH" dirty="0"/>
            <a:t>von…</a:t>
          </a:r>
        </a:p>
      </dgm:t>
    </dgm:pt>
    <dgm:pt modelId="{E7A869FA-B721-4559-BE01-F1BA13137AB7}" type="parTrans" cxnId="{9358F153-9621-4120-95A3-EC58203B3C68}">
      <dgm:prSet/>
      <dgm:spPr/>
      <dgm:t>
        <a:bodyPr/>
        <a:lstStyle/>
        <a:p>
          <a:endParaRPr lang="de-CH"/>
        </a:p>
      </dgm:t>
    </dgm:pt>
    <dgm:pt modelId="{46EC8EFC-639E-447F-95F7-0175CA34EDC5}" type="sibTrans" cxnId="{9358F153-9621-4120-95A3-EC58203B3C68}">
      <dgm:prSet/>
      <dgm:spPr/>
      <dgm:t>
        <a:bodyPr/>
        <a:lstStyle/>
        <a:p>
          <a:endParaRPr lang="de-CH"/>
        </a:p>
      </dgm:t>
    </dgm:pt>
    <dgm:pt modelId="{BAC722E1-27E2-488A-8921-87D1A70D96DA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1:55 Uhr</a:t>
          </a:r>
        </a:p>
      </dgm:t>
    </dgm:pt>
    <dgm:pt modelId="{80609054-2891-4980-B58E-C723EA7FBF7F}" type="parTrans" cxnId="{4A00AEE9-846E-4D59-88A8-3592B194F874}">
      <dgm:prSet/>
      <dgm:spPr/>
      <dgm:t>
        <a:bodyPr/>
        <a:lstStyle/>
        <a:p>
          <a:endParaRPr lang="de-CH"/>
        </a:p>
      </dgm:t>
    </dgm:pt>
    <dgm:pt modelId="{2E13CE31-357A-4322-A040-4997982119CD}" type="sibTrans" cxnId="{4A00AEE9-846E-4D59-88A8-3592B194F874}">
      <dgm:prSet/>
      <dgm:spPr/>
      <dgm:t>
        <a:bodyPr/>
        <a:lstStyle/>
        <a:p>
          <a:endParaRPr lang="de-CH"/>
        </a:p>
      </dgm:t>
    </dgm:pt>
    <dgm:pt modelId="{3E6C3280-AC2F-4C7A-9AEF-783694AD9125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Nachmittags</a:t>
          </a:r>
          <a:br>
            <a:rPr lang="de-CH" dirty="0"/>
          </a:br>
          <a:r>
            <a:rPr lang="de-CH" dirty="0"/>
            <a:t>von…</a:t>
          </a:r>
        </a:p>
      </dgm:t>
    </dgm:pt>
    <dgm:pt modelId="{5DD1D89C-C9F7-4A75-B1FA-93058EFFDC80}" type="parTrans" cxnId="{620F0320-2C05-4C6C-ACA7-F32206B1A69B}">
      <dgm:prSet/>
      <dgm:spPr/>
      <dgm:t>
        <a:bodyPr/>
        <a:lstStyle/>
        <a:p>
          <a:endParaRPr lang="de-CH"/>
        </a:p>
      </dgm:t>
    </dgm:pt>
    <dgm:pt modelId="{3455C70F-F3EC-429B-867F-12F1D5DC0F3E}" type="sibTrans" cxnId="{620F0320-2C05-4C6C-ACA7-F32206B1A69B}">
      <dgm:prSet/>
      <dgm:spPr/>
      <dgm:t>
        <a:bodyPr/>
        <a:lstStyle/>
        <a:p>
          <a:endParaRPr lang="de-CH"/>
        </a:p>
      </dgm:t>
    </dgm:pt>
    <dgm:pt modelId="{8D725569-6446-4259-9E2C-039AE2D9A798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3:15 Uhr</a:t>
          </a:r>
        </a:p>
      </dgm:t>
    </dgm:pt>
    <dgm:pt modelId="{FC68D3B4-8056-4233-A731-FE9632DF622F}" type="parTrans" cxnId="{B9C4ED86-FDF2-4CBC-9D93-8E7E6C7C5551}">
      <dgm:prSet/>
      <dgm:spPr/>
      <dgm:t>
        <a:bodyPr/>
        <a:lstStyle/>
        <a:p>
          <a:endParaRPr lang="de-CH"/>
        </a:p>
      </dgm:t>
    </dgm:pt>
    <dgm:pt modelId="{A42A8121-D18C-48E3-8389-29E6AF3EE5ED}" type="sibTrans" cxnId="{B9C4ED86-FDF2-4CBC-9D93-8E7E6C7C5551}">
      <dgm:prSet/>
      <dgm:spPr/>
      <dgm:t>
        <a:bodyPr/>
        <a:lstStyle/>
        <a:p>
          <a:endParaRPr lang="de-CH"/>
        </a:p>
      </dgm:t>
    </dgm:pt>
    <dgm:pt modelId="{E41ED792-3296-4435-B02A-CE0999187114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6:40 Uhr</a:t>
          </a:r>
        </a:p>
      </dgm:t>
    </dgm:pt>
    <dgm:pt modelId="{FFDD9ABF-DCDF-440F-9165-09E9437D7BBD}" type="parTrans" cxnId="{CF58A67D-7370-44CB-B2D9-559A66314795}">
      <dgm:prSet/>
      <dgm:spPr/>
      <dgm:t>
        <a:bodyPr/>
        <a:lstStyle/>
        <a:p>
          <a:endParaRPr lang="de-CH"/>
        </a:p>
      </dgm:t>
    </dgm:pt>
    <dgm:pt modelId="{74DB6B24-5C41-4179-B1C7-B6BE8AAA2AAF}" type="sibTrans" cxnId="{CF58A67D-7370-44CB-B2D9-559A66314795}">
      <dgm:prSet/>
      <dgm:spPr/>
      <dgm:t>
        <a:bodyPr/>
        <a:lstStyle/>
        <a:p>
          <a:endParaRPr lang="de-CH"/>
        </a:p>
      </dgm:t>
    </dgm:pt>
    <dgm:pt modelId="{A99166FE-78D3-4A16-BDF4-0F23DA248B7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4B710B1F-7F00-4176-8376-D51594A6B6D9}" type="parTrans" cxnId="{ACBC4062-28C7-483A-8A7F-6C0716C88C96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5F309AFB-7825-4283-8BEF-BBD7C5A70063}" type="sibTrans" cxnId="{ACBC4062-28C7-483A-8A7F-6C0716C88C96}">
      <dgm:prSet/>
      <dgm:spPr/>
      <dgm:t>
        <a:bodyPr/>
        <a:lstStyle/>
        <a:p>
          <a:endParaRPr lang="de-CH"/>
        </a:p>
      </dgm:t>
    </dgm:pt>
    <dgm:pt modelId="{A3591E46-1E51-4C9F-8B2F-087A191899D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8CC2767A-485D-4301-825B-35A75D32D313}" type="parTrans" cxnId="{31998540-77D0-46A4-8C13-2E8A96BF41B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BAF35487-4361-4309-BD29-47CD9D279CBC}" type="sibTrans" cxnId="{31998540-77D0-46A4-8C13-2E8A96BF41B8}">
      <dgm:prSet/>
      <dgm:spPr/>
      <dgm:t>
        <a:bodyPr/>
        <a:lstStyle/>
        <a:p>
          <a:endParaRPr lang="de-CH"/>
        </a:p>
      </dgm:t>
    </dgm:pt>
    <dgm:pt modelId="{01A7B1B1-CE59-436E-B026-00284F1342FE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Abends</a:t>
          </a:r>
          <a:br>
            <a:rPr lang="de-CH" dirty="0"/>
          </a:br>
          <a:r>
            <a:rPr lang="de-CH" dirty="0"/>
            <a:t>von…</a:t>
          </a:r>
        </a:p>
      </dgm:t>
    </dgm:pt>
    <dgm:pt modelId="{DDE6AACF-6CB8-4853-BAC8-5D7980A8CBAA}" type="parTrans" cxnId="{CE6CFF20-787F-46B0-B506-8696519A8548}">
      <dgm:prSet/>
      <dgm:spPr/>
      <dgm:t>
        <a:bodyPr/>
        <a:lstStyle/>
        <a:p>
          <a:endParaRPr lang="de-CH"/>
        </a:p>
      </dgm:t>
    </dgm:pt>
    <dgm:pt modelId="{BAE2E178-B13B-4C5D-9852-6B5F5C638266}" type="sibTrans" cxnId="{CE6CFF20-787F-46B0-B506-8696519A8548}">
      <dgm:prSet/>
      <dgm:spPr/>
      <dgm:t>
        <a:bodyPr/>
        <a:lstStyle/>
        <a:p>
          <a:endParaRPr lang="de-CH"/>
        </a:p>
      </dgm:t>
    </dgm:pt>
    <dgm:pt modelId="{6A587132-273B-4205-A489-FA8638966C5C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8:10 Uhr</a:t>
          </a:r>
        </a:p>
      </dgm:t>
    </dgm:pt>
    <dgm:pt modelId="{F5CD96FB-03D0-453A-A57A-EC12335AD19C}" type="parTrans" cxnId="{5E2ED6D4-4E89-4603-86C1-F1CE350CCF6F}">
      <dgm:prSet/>
      <dgm:spPr/>
      <dgm:t>
        <a:bodyPr/>
        <a:lstStyle/>
        <a:p>
          <a:endParaRPr lang="de-CH"/>
        </a:p>
      </dgm:t>
    </dgm:pt>
    <dgm:pt modelId="{293BE61A-F222-4ED2-949A-3DF31D842AA5}" type="sibTrans" cxnId="{5E2ED6D4-4E89-4603-86C1-F1CE350CCF6F}">
      <dgm:prSet/>
      <dgm:spPr/>
      <dgm:t>
        <a:bodyPr/>
        <a:lstStyle/>
        <a:p>
          <a:endParaRPr lang="de-CH"/>
        </a:p>
      </dgm:t>
    </dgm:pt>
    <dgm:pt modelId="{806EF21C-B099-4594-B2CF-5BCC22B303BC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1361C8C7-EE73-4017-ABB1-61EB3C9F0E42}" type="parTrans" cxnId="{D539807B-2771-464D-9EAA-53ECA6738C7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AEFD9A1E-D477-439E-AC11-D1BD8D7CBC27}" type="sibTrans" cxnId="{D539807B-2771-464D-9EAA-53ECA6738C78}">
      <dgm:prSet/>
      <dgm:spPr/>
      <dgm:t>
        <a:bodyPr/>
        <a:lstStyle/>
        <a:p>
          <a:endParaRPr lang="de-CH"/>
        </a:p>
      </dgm:t>
    </dgm:pt>
    <dgm:pt modelId="{2CD5DE3D-0B25-49BF-A245-E854C9CE7E4F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21:50 Uhr</a:t>
          </a:r>
        </a:p>
      </dgm:t>
    </dgm:pt>
    <dgm:pt modelId="{924B1A7E-B826-4BB0-8EF1-B0AC649F5B87}" type="parTrans" cxnId="{20C7EB7E-7C39-4A0C-B3EC-1E268127977B}">
      <dgm:prSet/>
      <dgm:spPr/>
      <dgm:t>
        <a:bodyPr/>
        <a:lstStyle/>
        <a:p>
          <a:endParaRPr lang="de-CH"/>
        </a:p>
      </dgm:t>
    </dgm:pt>
    <dgm:pt modelId="{EC563C2A-D179-4396-8E58-FAF6A3D4BC77}" type="sibTrans" cxnId="{20C7EB7E-7C39-4A0C-B3EC-1E268127977B}">
      <dgm:prSet/>
      <dgm:spPr/>
      <dgm:t>
        <a:bodyPr/>
        <a:lstStyle/>
        <a:p>
          <a:endParaRPr lang="de-CH"/>
        </a:p>
      </dgm:t>
    </dgm:pt>
    <dgm:pt modelId="{F6F9012A-87BE-4EE3-A690-055366B8F9D7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CCBA445A-740D-4FBC-A5AA-BAD3E05D523B}" type="parTrans" cxnId="{24D0A245-B5B1-4530-B688-F2531A53157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C3FEADF4-409D-4F2E-9C8B-3307ABE47DA3}" type="sibTrans" cxnId="{24D0A245-B5B1-4530-B688-F2531A531578}">
      <dgm:prSet/>
      <dgm:spPr/>
      <dgm:t>
        <a:bodyPr/>
        <a:lstStyle/>
        <a:p>
          <a:endParaRPr lang="de-CH"/>
        </a:p>
      </dgm:t>
    </dgm:pt>
    <dgm:pt modelId="{7BDBCFF2-147B-49CB-8B65-4DA8F0922AA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4BCD8319-64C9-432E-BA12-C2D26B49BFE6}" type="parTrans" cxnId="{C8CA8A08-ED71-4762-A828-500BB6AAFBEC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A4D76997-24ED-4B31-AB9E-79A548470FE9}" type="sibTrans" cxnId="{C8CA8A08-ED71-4762-A828-500BB6AAFBEC}">
      <dgm:prSet/>
      <dgm:spPr/>
      <dgm:t>
        <a:bodyPr/>
        <a:lstStyle/>
        <a:p>
          <a:endParaRPr lang="de-CH"/>
        </a:p>
      </dgm:t>
    </dgm:pt>
    <dgm:pt modelId="{DC648DE9-BDDE-47A8-81F3-A959FD1297E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3E932220-C1A7-4DE7-839E-003C78B72851}" type="sibTrans" cxnId="{4C471BC2-DC23-4A0F-A6CF-7B5EFD51A188}">
      <dgm:prSet/>
      <dgm:spPr/>
      <dgm:t>
        <a:bodyPr/>
        <a:lstStyle/>
        <a:p>
          <a:endParaRPr lang="de-CH"/>
        </a:p>
      </dgm:t>
    </dgm:pt>
    <dgm:pt modelId="{E5A2F4F1-367B-4665-A7C8-AD9CA5ABEC2C}" type="parTrans" cxnId="{4C471BC2-DC23-4A0F-A6CF-7B5EFD51A18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F17F1358-CD5D-4C61-A104-38FAD3DCE1E0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08:15 Uhr</a:t>
          </a:r>
        </a:p>
      </dgm:t>
    </dgm:pt>
    <dgm:pt modelId="{6AF437D9-F12C-4FB1-B037-870DD31C1775}" type="sibTrans" cxnId="{E1ED4EE2-E3AB-4084-B183-42741FF4A29E}">
      <dgm:prSet/>
      <dgm:spPr/>
      <dgm:t>
        <a:bodyPr/>
        <a:lstStyle/>
        <a:p>
          <a:endParaRPr lang="de-CH"/>
        </a:p>
      </dgm:t>
    </dgm:pt>
    <dgm:pt modelId="{1D979EB2-6C66-4EB5-8CD3-C2EE4CB89D9C}" type="parTrans" cxnId="{E1ED4EE2-E3AB-4084-B183-42741FF4A29E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351C1D7-3B9A-469C-9872-E64D1675B52B}" type="pres">
      <dgm:prSet presAssocID="{5F64E49C-400F-482F-932E-690765A0C022}" presName="root" presStyleCnt="0"/>
      <dgm:spPr/>
    </dgm:pt>
    <dgm:pt modelId="{7B6A32A6-A91F-481E-BF3C-567CD07F9EBB}" type="pres">
      <dgm:prSet presAssocID="{5F64E49C-400F-482F-932E-690765A0C022}" presName="rootComposite" presStyleCnt="0"/>
      <dgm:spPr/>
    </dgm:pt>
    <dgm:pt modelId="{D2B160AE-60EE-49B1-AB0B-296A6F051F5D}" type="pres">
      <dgm:prSet presAssocID="{5F64E49C-400F-482F-932E-690765A0C022}" presName="rootText" presStyleLbl="node1" presStyleIdx="0" presStyleCnt="3" custScaleX="124497" custScaleY="127474"/>
      <dgm:spPr/>
    </dgm:pt>
    <dgm:pt modelId="{66AF27FE-DEEE-4493-8AB6-2DF75BD76863}" type="pres">
      <dgm:prSet presAssocID="{5F64E49C-400F-482F-932E-690765A0C022}" presName="rootConnector" presStyleLbl="node1" presStyleIdx="0" presStyleCnt="3"/>
      <dgm:spPr/>
    </dgm:pt>
    <dgm:pt modelId="{7E6EDE5B-5DCC-483F-BDEE-F8B742382690}" type="pres">
      <dgm:prSet presAssocID="{5F64E49C-400F-482F-932E-690765A0C022}" presName="childShape" presStyleCnt="0"/>
      <dgm:spPr/>
    </dgm:pt>
    <dgm:pt modelId="{2880CEAC-AF94-4C40-9A65-AB091322C543}" type="pres">
      <dgm:prSet presAssocID="{CCBA445A-740D-4FBC-A5AA-BAD3E05D523B}" presName="Name13" presStyleLbl="parChTrans1D2" presStyleIdx="0" presStyleCnt="12"/>
      <dgm:spPr/>
    </dgm:pt>
    <dgm:pt modelId="{BE348649-D026-4AD6-85CA-2B877E9CAC35}" type="pres">
      <dgm:prSet presAssocID="{F6F9012A-87BE-4EE3-A690-055366B8F9D7}" presName="childText" presStyleLbl="bgAcc1" presStyleIdx="0" presStyleCnt="12">
        <dgm:presLayoutVars>
          <dgm:bulletEnabled val="1"/>
        </dgm:presLayoutVars>
      </dgm:prSet>
      <dgm:spPr/>
    </dgm:pt>
    <dgm:pt modelId="{82715789-5A6E-42E7-AE77-4CCA967CF352}" type="pres">
      <dgm:prSet presAssocID="{1D979EB2-6C66-4EB5-8CD3-C2EE4CB89D9C}" presName="Name13" presStyleLbl="parChTrans1D2" presStyleIdx="1" presStyleCnt="12"/>
      <dgm:spPr/>
    </dgm:pt>
    <dgm:pt modelId="{708D8021-C0C5-469D-87AA-07CD20DD4549}" type="pres">
      <dgm:prSet presAssocID="{F17F1358-CD5D-4C61-A104-38FAD3DCE1E0}" presName="childText" presStyleLbl="bgAcc1" presStyleIdx="1" presStyleCnt="12" custScaleX="124497">
        <dgm:presLayoutVars>
          <dgm:bulletEnabled val="1"/>
        </dgm:presLayoutVars>
      </dgm:prSet>
      <dgm:spPr/>
    </dgm:pt>
    <dgm:pt modelId="{2937C455-D2D3-4F68-AB4C-42FDD485D8C6}" type="pres">
      <dgm:prSet presAssocID="{4B710B1F-7F00-4176-8376-D51594A6B6D9}" presName="Name13" presStyleLbl="parChTrans1D2" presStyleIdx="2" presStyleCnt="12"/>
      <dgm:spPr/>
    </dgm:pt>
    <dgm:pt modelId="{4C3688E5-D649-458A-839E-2FA2629520C7}" type="pres">
      <dgm:prSet presAssocID="{A99166FE-78D3-4A16-BDF4-0F23DA248B77}" presName="childText" presStyleLbl="bgAcc1" presStyleIdx="2" presStyleCnt="12" custScaleX="124497">
        <dgm:presLayoutVars>
          <dgm:bulletEnabled val="1"/>
        </dgm:presLayoutVars>
      </dgm:prSet>
      <dgm:spPr/>
    </dgm:pt>
    <dgm:pt modelId="{31775304-2651-453F-BE24-5761B5BBEB7E}" type="pres">
      <dgm:prSet presAssocID="{80609054-2891-4980-B58E-C723EA7FBF7F}" presName="Name13" presStyleLbl="parChTrans1D2" presStyleIdx="3" presStyleCnt="12"/>
      <dgm:spPr/>
    </dgm:pt>
    <dgm:pt modelId="{6A61774E-83D5-4C66-A999-6CF5CF49A64C}" type="pres">
      <dgm:prSet presAssocID="{BAC722E1-27E2-488A-8921-87D1A70D96DA}" presName="childText" presStyleLbl="bgAcc1" presStyleIdx="3" presStyleCnt="12" custScaleX="124497">
        <dgm:presLayoutVars>
          <dgm:bulletEnabled val="1"/>
        </dgm:presLayoutVars>
      </dgm:prSet>
      <dgm:spPr/>
    </dgm:pt>
    <dgm:pt modelId="{9E4CA38E-236B-414C-937B-65B84A432F52}" type="pres">
      <dgm:prSet presAssocID="{3E6C3280-AC2F-4C7A-9AEF-783694AD9125}" presName="root" presStyleCnt="0"/>
      <dgm:spPr/>
    </dgm:pt>
    <dgm:pt modelId="{FA55899F-4636-465C-85F6-D23E39502DBD}" type="pres">
      <dgm:prSet presAssocID="{3E6C3280-AC2F-4C7A-9AEF-783694AD9125}" presName="rootComposite" presStyleCnt="0"/>
      <dgm:spPr/>
    </dgm:pt>
    <dgm:pt modelId="{67C2E270-FB59-4561-A7E8-476C78CD8D65}" type="pres">
      <dgm:prSet presAssocID="{3E6C3280-AC2F-4C7A-9AEF-783694AD9125}" presName="rootText" presStyleLbl="node1" presStyleIdx="1" presStyleCnt="3" custScaleX="124497" custScaleY="127474"/>
      <dgm:spPr/>
    </dgm:pt>
    <dgm:pt modelId="{FC1076BF-86E3-43BF-8D53-667BA5403AA5}" type="pres">
      <dgm:prSet presAssocID="{3E6C3280-AC2F-4C7A-9AEF-783694AD9125}" presName="rootConnector" presStyleLbl="node1" presStyleIdx="1" presStyleCnt="3"/>
      <dgm:spPr/>
    </dgm:pt>
    <dgm:pt modelId="{4288AC2B-1765-4A47-A5DC-0F21AA7DD0D4}" type="pres">
      <dgm:prSet presAssocID="{3E6C3280-AC2F-4C7A-9AEF-783694AD9125}" presName="childShape" presStyleCnt="0"/>
      <dgm:spPr/>
    </dgm:pt>
    <dgm:pt modelId="{7600C868-8761-4D6B-970B-F745E516C266}" type="pres">
      <dgm:prSet presAssocID="{E5A2F4F1-367B-4665-A7C8-AD9CA5ABEC2C}" presName="Name13" presStyleLbl="parChTrans1D2" presStyleIdx="4" presStyleCnt="12"/>
      <dgm:spPr/>
    </dgm:pt>
    <dgm:pt modelId="{A5C9992D-A915-4490-ACC7-ABD9AC8810AA}" type="pres">
      <dgm:prSet presAssocID="{DC648DE9-BDDE-47A8-81F3-A959FD1297ED}" presName="childText" presStyleLbl="bgAcc1" presStyleIdx="4" presStyleCnt="12">
        <dgm:presLayoutVars>
          <dgm:bulletEnabled val="1"/>
        </dgm:presLayoutVars>
      </dgm:prSet>
      <dgm:spPr/>
    </dgm:pt>
    <dgm:pt modelId="{0F5C3FBD-F0D7-457A-8A3D-F894E135081D}" type="pres">
      <dgm:prSet presAssocID="{FC68D3B4-8056-4233-A731-FE9632DF622F}" presName="Name13" presStyleLbl="parChTrans1D2" presStyleIdx="5" presStyleCnt="12"/>
      <dgm:spPr/>
    </dgm:pt>
    <dgm:pt modelId="{0D4EFF92-B00F-433D-8E13-404EC2F306DD}" type="pres">
      <dgm:prSet presAssocID="{8D725569-6446-4259-9E2C-039AE2D9A798}" presName="childText" presStyleLbl="bgAcc1" presStyleIdx="5" presStyleCnt="12" custScaleX="124497">
        <dgm:presLayoutVars>
          <dgm:bulletEnabled val="1"/>
        </dgm:presLayoutVars>
      </dgm:prSet>
      <dgm:spPr/>
    </dgm:pt>
    <dgm:pt modelId="{5B8F671E-5E77-48D4-AD23-415D145D72FF}" type="pres">
      <dgm:prSet presAssocID="{8CC2767A-485D-4301-825B-35A75D32D313}" presName="Name13" presStyleLbl="parChTrans1D2" presStyleIdx="6" presStyleCnt="12"/>
      <dgm:spPr/>
    </dgm:pt>
    <dgm:pt modelId="{B1758A4B-FB01-4E33-B580-15E296A5DAF6}" type="pres">
      <dgm:prSet presAssocID="{A3591E46-1E51-4C9F-8B2F-087A191899D7}" presName="childText" presStyleLbl="bgAcc1" presStyleIdx="6" presStyleCnt="12" custScaleX="124497">
        <dgm:presLayoutVars>
          <dgm:bulletEnabled val="1"/>
        </dgm:presLayoutVars>
      </dgm:prSet>
      <dgm:spPr/>
    </dgm:pt>
    <dgm:pt modelId="{924D06F6-7185-4D77-992C-D0E42528A2B9}" type="pres">
      <dgm:prSet presAssocID="{FFDD9ABF-DCDF-440F-9165-09E9437D7BBD}" presName="Name13" presStyleLbl="parChTrans1D2" presStyleIdx="7" presStyleCnt="12"/>
      <dgm:spPr/>
    </dgm:pt>
    <dgm:pt modelId="{20401F6E-2218-4903-935B-57A86E61C90F}" type="pres">
      <dgm:prSet presAssocID="{E41ED792-3296-4435-B02A-CE0999187114}" presName="childText" presStyleLbl="bgAcc1" presStyleIdx="7" presStyleCnt="12" custScaleX="124497">
        <dgm:presLayoutVars>
          <dgm:bulletEnabled val="1"/>
        </dgm:presLayoutVars>
      </dgm:prSet>
      <dgm:spPr/>
    </dgm:pt>
    <dgm:pt modelId="{B99A5C08-291D-495E-B605-44391234B86D}" type="pres">
      <dgm:prSet presAssocID="{01A7B1B1-CE59-436E-B026-00284F1342FE}" presName="root" presStyleCnt="0"/>
      <dgm:spPr/>
    </dgm:pt>
    <dgm:pt modelId="{89A92BDF-B959-4160-8E20-68391CBF0155}" type="pres">
      <dgm:prSet presAssocID="{01A7B1B1-CE59-436E-B026-00284F1342FE}" presName="rootComposite" presStyleCnt="0"/>
      <dgm:spPr/>
    </dgm:pt>
    <dgm:pt modelId="{FAF89C5A-7A86-4798-8D7C-6493155A2469}" type="pres">
      <dgm:prSet presAssocID="{01A7B1B1-CE59-436E-B026-00284F1342FE}" presName="rootText" presStyleLbl="node1" presStyleIdx="2" presStyleCnt="3" custScaleX="124497" custScaleY="127474"/>
      <dgm:spPr/>
    </dgm:pt>
    <dgm:pt modelId="{AC3F0DCD-B575-4F76-93DC-D90C4B2CF804}" type="pres">
      <dgm:prSet presAssocID="{01A7B1B1-CE59-436E-B026-00284F1342FE}" presName="rootConnector" presStyleLbl="node1" presStyleIdx="2" presStyleCnt="3"/>
      <dgm:spPr/>
    </dgm:pt>
    <dgm:pt modelId="{493E952A-5B84-4DA1-9FD2-229522C3550F}" type="pres">
      <dgm:prSet presAssocID="{01A7B1B1-CE59-436E-B026-00284F1342FE}" presName="childShape" presStyleCnt="0"/>
      <dgm:spPr/>
    </dgm:pt>
    <dgm:pt modelId="{BE3EAFF3-E1C7-4061-8753-EBACC9EDA0AF}" type="pres">
      <dgm:prSet presAssocID="{4BCD8319-64C9-432E-BA12-C2D26B49BFE6}" presName="Name13" presStyleLbl="parChTrans1D2" presStyleIdx="8" presStyleCnt="12"/>
      <dgm:spPr/>
    </dgm:pt>
    <dgm:pt modelId="{7F8FE4A9-0DE9-49DD-810F-605F5E5FF114}" type="pres">
      <dgm:prSet presAssocID="{7BDBCFF2-147B-49CB-8B65-4DA8F0922AAD}" presName="childText" presStyleLbl="bgAcc1" presStyleIdx="8" presStyleCnt="12">
        <dgm:presLayoutVars>
          <dgm:bulletEnabled val="1"/>
        </dgm:presLayoutVars>
      </dgm:prSet>
      <dgm:spPr/>
    </dgm:pt>
    <dgm:pt modelId="{F88DB0F4-A17F-4688-95B1-5FA6C6295493}" type="pres">
      <dgm:prSet presAssocID="{F5CD96FB-03D0-453A-A57A-EC12335AD19C}" presName="Name13" presStyleLbl="parChTrans1D2" presStyleIdx="9" presStyleCnt="12"/>
      <dgm:spPr/>
    </dgm:pt>
    <dgm:pt modelId="{2925C952-3C69-4BC8-8352-D45A11665B31}" type="pres">
      <dgm:prSet presAssocID="{6A587132-273B-4205-A489-FA8638966C5C}" presName="childText" presStyleLbl="bgAcc1" presStyleIdx="9" presStyleCnt="12" custScaleX="124497">
        <dgm:presLayoutVars>
          <dgm:bulletEnabled val="1"/>
        </dgm:presLayoutVars>
      </dgm:prSet>
      <dgm:spPr/>
    </dgm:pt>
    <dgm:pt modelId="{EAAEDE6B-8CD4-4EFC-92C6-DE3061D75F24}" type="pres">
      <dgm:prSet presAssocID="{1361C8C7-EE73-4017-ABB1-61EB3C9F0E42}" presName="Name13" presStyleLbl="parChTrans1D2" presStyleIdx="10" presStyleCnt="12"/>
      <dgm:spPr/>
    </dgm:pt>
    <dgm:pt modelId="{03C82D46-1174-4CED-825B-3A011305C6ED}" type="pres">
      <dgm:prSet presAssocID="{806EF21C-B099-4594-B2CF-5BCC22B303BC}" presName="childText" presStyleLbl="bgAcc1" presStyleIdx="10" presStyleCnt="12" custScaleX="124497">
        <dgm:presLayoutVars>
          <dgm:bulletEnabled val="1"/>
        </dgm:presLayoutVars>
      </dgm:prSet>
      <dgm:spPr/>
    </dgm:pt>
    <dgm:pt modelId="{2A0EE326-4461-49A0-8B28-B96F6D74D1B5}" type="pres">
      <dgm:prSet presAssocID="{924B1A7E-B826-4BB0-8EF1-B0AC649F5B87}" presName="Name13" presStyleLbl="parChTrans1D2" presStyleIdx="11" presStyleCnt="12"/>
      <dgm:spPr/>
    </dgm:pt>
    <dgm:pt modelId="{55815F01-5A78-42B0-8152-CF4C68EABA67}" type="pres">
      <dgm:prSet presAssocID="{2CD5DE3D-0B25-49BF-A245-E854C9CE7E4F}" presName="childText" presStyleLbl="bgAcc1" presStyleIdx="11" presStyleCnt="12" custScaleX="124497">
        <dgm:presLayoutVars>
          <dgm:bulletEnabled val="1"/>
        </dgm:presLayoutVars>
      </dgm:prSet>
      <dgm:spPr/>
    </dgm:pt>
  </dgm:ptLst>
  <dgm:cxnLst>
    <dgm:cxn modelId="{47D57D02-ABD7-4BA1-B7DC-2603847E8ED4}" type="presOf" srcId="{E5A2F4F1-367B-4665-A7C8-AD9CA5ABEC2C}" destId="{7600C868-8761-4D6B-970B-F745E516C266}" srcOrd="0" destOrd="0" presId="urn:microsoft.com/office/officeart/2005/8/layout/hierarchy3"/>
    <dgm:cxn modelId="{622BCB02-7D73-4B74-B289-9CB4B7B2485C}" type="presOf" srcId="{806EF21C-B099-4594-B2CF-5BCC22B303BC}" destId="{03C82D46-1174-4CED-825B-3A011305C6ED}" srcOrd="0" destOrd="0" presId="urn:microsoft.com/office/officeart/2005/8/layout/hierarchy3"/>
    <dgm:cxn modelId="{C8CA8A08-ED71-4762-A828-500BB6AAFBEC}" srcId="{01A7B1B1-CE59-436E-B026-00284F1342FE}" destId="{7BDBCFF2-147B-49CB-8B65-4DA8F0922AAD}" srcOrd="0" destOrd="0" parTransId="{4BCD8319-64C9-432E-BA12-C2D26B49BFE6}" sibTransId="{A4D76997-24ED-4B31-AB9E-79A548470FE9}"/>
    <dgm:cxn modelId="{3D306618-3789-44B0-ABD0-D21AB5DE8C7E}" type="presOf" srcId="{F5CD96FB-03D0-453A-A57A-EC12335AD19C}" destId="{F88DB0F4-A17F-4688-95B1-5FA6C6295493}" srcOrd="0" destOrd="0" presId="urn:microsoft.com/office/officeart/2005/8/layout/hierarchy3"/>
    <dgm:cxn modelId="{0C2B931C-C586-4FC7-B1F7-27691C5B88F6}" type="presOf" srcId="{1361C8C7-EE73-4017-ABB1-61EB3C9F0E42}" destId="{EAAEDE6B-8CD4-4EFC-92C6-DE3061D75F24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620F0320-2C05-4C6C-ACA7-F32206B1A69B}" srcId="{E7CE0BB8-A326-429F-A594-0E3DD11B0FA6}" destId="{3E6C3280-AC2F-4C7A-9AEF-783694AD9125}" srcOrd="1" destOrd="0" parTransId="{5DD1D89C-C9F7-4A75-B1FA-93058EFFDC80}" sibTransId="{3455C70F-F3EC-429B-867F-12F1D5DC0F3E}"/>
    <dgm:cxn modelId="{CE6CFF20-787F-46B0-B506-8696519A8548}" srcId="{E7CE0BB8-A326-429F-A594-0E3DD11B0FA6}" destId="{01A7B1B1-CE59-436E-B026-00284F1342FE}" srcOrd="2" destOrd="0" parTransId="{DDE6AACF-6CB8-4853-BAC8-5D7980A8CBAA}" sibTransId="{BAE2E178-B13B-4C5D-9852-6B5F5C638266}"/>
    <dgm:cxn modelId="{C968852F-F99A-4C68-B619-DA7BD557DDC3}" type="presOf" srcId="{A3591E46-1E51-4C9F-8B2F-087A191899D7}" destId="{B1758A4B-FB01-4E33-B580-15E296A5DAF6}" srcOrd="0" destOrd="0" presId="urn:microsoft.com/office/officeart/2005/8/layout/hierarchy3"/>
    <dgm:cxn modelId="{9B994839-FCB3-48E7-AE89-0832A95ADC1F}" type="presOf" srcId="{01A7B1B1-CE59-436E-B026-00284F1342FE}" destId="{AC3F0DCD-B575-4F76-93DC-D90C4B2CF804}" srcOrd="1" destOrd="0" presId="urn:microsoft.com/office/officeart/2005/8/layout/hierarchy3"/>
    <dgm:cxn modelId="{C4990D3C-9E5E-4E10-A53A-E6C6F16EC45E}" type="presOf" srcId="{8D725569-6446-4259-9E2C-039AE2D9A798}" destId="{0D4EFF92-B00F-433D-8E13-404EC2F306DD}" srcOrd="0" destOrd="0" presId="urn:microsoft.com/office/officeart/2005/8/layout/hierarchy3"/>
    <dgm:cxn modelId="{31998540-77D0-46A4-8C13-2E8A96BF41B8}" srcId="{3E6C3280-AC2F-4C7A-9AEF-783694AD9125}" destId="{A3591E46-1E51-4C9F-8B2F-087A191899D7}" srcOrd="2" destOrd="0" parTransId="{8CC2767A-485D-4301-825B-35A75D32D313}" sibTransId="{BAF35487-4361-4309-BD29-47CD9D279CBC}"/>
    <dgm:cxn modelId="{F415CF5D-9E43-4EB8-8B96-B9D0276A4C4F}" type="presOf" srcId="{BAC722E1-27E2-488A-8921-87D1A70D96DA}" destId="{6A61774E-83D5-4C66-A999-6CF5CF49A64C}" srcOrd="0" destOrd="0" presId="urn:microsoft.com/office/officeart/2005/8/layout/hierarchy3"/>
    <dgm:cxn modelId="{BE73305F-E387-4AF1-9EC8-D85340E8828E}" type="presOf" srcId="{FFDD9ABF-DCDF-440F-9165-09E9437D7BBD}" destId="{924D06F6-7185-4D77-992C-D0E42528A2B9}" srcOrd="0" destOrd="0" presId="urn:microsoft.com/office/officeart/2005/8/layout/hierarchy3"/>
    <dgm:cxn modelId="{3A31EA5F-A943-4828-90AF-35E0DAF63DCA}" type="presOf" srcId="{A99166FE-78D3-4A16-BDF4-0F23DA248B77}" destId="{4C3688E5-D649-458A-839E-2FA2629520C7}" srcOrd="0" destOrd="0" presId="urn:microsoft.com/office/officeart/2005/8/layout/hierarchy3"/>
    <dgm:cxn modelId="{ACBC4062-28C7-483A-8A7F-6C0716C88C96}" srcId="{5F64E49C-400F-482F-932E-690765A0C022}" destId="{A99166FE-78D3-4A16-BDF4-0F23DA248B77}" srcOrd="2" destOrd="0" parTransId="{4B710B1F-7F00-4176-8376-D51594A6B6D9}" sibTransId="{5F309AFB-7825-4283-8BEF-BBD7C5A70063}"/>
    <dgm:cxn modelId="{00120843-00BC-4B7E-B14F-4D3A13C9FD6B}" type="presOf" srcId="{F6F9012A-87BE-4EE3-A690-055366B8F9D7}" destId="{BE348649-D026-4AD6-85CA-2B877E9CAC35}" srcOrd="0" destOrd="0" presId="urn:microsoft.com/office/officeart/2005/8/layout/hierarchy3"/>
    <dgm:cxn modelId="{24D0A245-B5B1-4530-B688-F2531A531578}" srcId="{5F64E49C-400F-482F-932E-690765A0C022}" destId="{F6F9012A-87BE-4EE3-A690-055366B8F9D7}" srcOrd="0" destOrd="0" parTransId="{CCBA445A-740D-4FBC-A5AA-BAD3E05D523B}" sibTransId="{C3FEADF4-409D-4F2E-9C8B-3307ABE47DA3}"/>
    <dgm:cxn modelId="{E0369C69-F1E5-4933-9212-4BC52C863230}" type="presOf" srcId="{2CD5DE3D-0B25-49BF-A245-E854C9CE7E4F}" destId="{55815F01-5A78-42B0-8152-CF4C68EABA67}" srcOrd="0" destOrd="0" presId="urn:microsoft.com/office/officeart/2005/8/layout/hierarchy3"/>
    <dgm:cxn modelId="{8F82554B-8D0D-44B3-B1C9-13D7182D1214}" type="presOf" srcId="{01A7B1B1-CE59-436E-B026-00284F1342FE}" destId="{FAF89C5A-7A86-4798-8D7C-6493155A2469}" srcOrd="0" destOrd="0" presId="urn:microsoft.com/office/officeart/2005/8/layout/hierarchy3"/>
    <dgm:cxn modelId="{B5EE464E-9F6A-4078-A23F-A640439D3AE9}" type="presOf" srcId="{3E6C3280-AC2F-4C7A-9AEF-783694AD9125}" destId="{67C2E270-FB59-4561-A7E8-476C78CD8D65}" srcOrd="0" destOrd="0" presId="urn:microsoft.com/office/officeart/2005/8/layout/hierarchy3"/>
    <dgm:cxn modelId="{FF93CB4E-C3F7-48F5-9761-EACEA048ED76}" type="presOf" srcId="{5F64E49C-400F-482F-932E-690765A0C022}" destId="{66AF27FE-DEEE-4493-8AB6-2DF75BD76863}" srcOrd="1" destOrd="0" presId="urn:microsoft.com/office/officeart/2005/8/layout/hierarchy3"/>
    <dgm:cxn modelId="{37D6C451-20BD-4FC6-B794-13F81235F3DA}" type="presOf" srcId="{5F64E49C-400F-482F-932E-690765A0C022}" destId="{D2B160AE-60EE-49B1-AB0B-296A6F051F5D}" srcOrd="0" destOrd="0" presId="urn:microsoft.com/office/officeart/2005/8/layout/hierarchy3"/>
    <dgm:cxn modelId="{9358F153-9621-4120-95A3-EC58203B3C68}" srcId="{E7CE0BB8-A326-429F-A594-0E3DD11B0FA6}" destId="{5F64E49C-400F-482F-932E-690765A0C022}" srcOrd="0" destOrd="0" parTransId="{E7A869FA-B721-4559-BE01-F1BA13137AB7}" sibTransId="{46EC8EFC-639E-447F-95F7-0175CA34EDC5}"/>
    <dgm:cxn modelId="{1B8B9974-EB9C-485F-8101-B75AEC9666AA}" type="presOf" srcId="{7BDBCFF2-147B-49CB-8B65-4DA8F0922AAD}" destId="{7F8FE4A9-0DE9-49DD-810F-605F5E5FF114}" srcOrd="0" destOrd="0" presId="urn:microsoft.com/office/officeart/2005/8/layout/hierarchy3"/>
    <dgm:cxn modelId="{59C46F75-2869-4B80-8DEE-9278E6B109F4}" type="presOf" srcId="{4BCD8319-64C9-432E-BA12-C2D26B49BFE6}" destId="{BE3EAFF3-E1C7-4061-8753-EBACC9EDA0AF}" srcOrd="0" destOrd="0" presId="urn:microsoft.com/office/officeart/2005/8/layout/hierarchy3"/>
    <dgm:cxn modelId="{3B07B975-E836-4167-8BAF-8C518104F676}" type="presOf" srcId="{3E6C3280-AC2F-4C7A-9AEF-783694AD9125}" destId="{FC1076BF-86E3-43BF-8D53-667BA5403AA5}" srcOrd="1" destOrd="0" presId="urn:microsoft.com/office/officeart/2005/8/layout/hierarchy3"/>
    <dgm:cxn modelId="{76A69F79-5643-4C93-BE8B-B3A82F566017}" type="presOf" srcId="{FC68D3B4-8056-4233-A731-FE9632DF622F}" destId="{0F5C3FBD-F0D7-457A-8A3D-F894E135081D}" srcOrd="0" destOrd="0" presId="urn:microsoft.com/office/officeart/2005/8/layout/hierarchy3"/>
    <dgm:cxn modelId="{D539807B-2771-464D-9EAA-53ECA6738C78}" srcId="{01A7B1B1-CE59-436E-B026-00284F1342FE}" destId="{806EF21C-B099-4594-B2CF-5BCC22B303BC}" srcOrd="2" destOrd="0" parTransId="{1361C8C7-EE73-4017-ABB1-61EB3C9F0E42}" sibTransId="{AEFD9A1E-D477-439E-AC11-D1BD8D7CBC27}"/>
    <dgm:cxn modelId="{CF58A67D-7370-44CB-B2D9-559A66314795}" srcId="{3E6C3280-AC2F-4C7A-9AEF-783694AD9125}" destId="{E41ED792-3296-4435-B02A-CE0999187114}" srcOrd="3" destOrd="0" parTransId="{FFDD9ABF-DCDF-440F-9165-09E9437D7BBD}" sibTransId="{74DB6B24-5C41-4179-B1C7-B6BE8AAA2AAF}"/>
    <dgm:cxn modelId="{20C7EB7E-7C39-4A0C-B3EC-1E268127977B}" srcId="{01A7B1B1-CE59-436E-B026-00284F1342FE}" destId="{2CD5DE3D-0B25-49BF-A245-E854C9CE7E4F}" srcOrd="3" destOrd="0" parTransId="{924B1A7E-B826-4BB0-8EF1-B0AC649F5B87}" sibTransId="{EC563C2A-D179-4396-8E58-FAF6A3D4BC77}"/>
    <dgm:cxn modelId="{B9C4ED86-FDF2-4CBC-9D93-8E7E6C7C5551}" srcId="{3E6C3280-AC2F-4C7A-9AEF-783694AD9125}" destId="{8D725569-6446-4259-9E2C-039AE2D9A798}" srcOrd="1" destOrd="0" parTransId="{FC68D3B4-8056-4233-A731-FE9632DF622F}" sibTransId="{A42A8121-D18C-48E3-8389-29E6AF3EE5ED}"/>
    <dgm:cxn modelId="{AA385A8F-43E9-4031-87E4-348F2D05C5C1}" type="presOf" srcId="{6A587132-273B-4205-A489-FA8638966C5C}" destId="{2925C952-3C69-4BC8-8352-D45A11665B31}" srcOrd="0" destOrd="0" presId="urn:microsoft.com/office/officeart/2005/8/layout/hierarchy3"/>
    <dgm:cxn modelId="{92A24AAC-6F3E-4D35-B693-6D865C5C457D}" type="presOf" srcId="{CCBA445A-740D-4FBC-A5AA-BAD3E05D523B}" destId="{2880CEAC-AF94-4C40-9A65-AB091322C543}" srcOrd="0" destOrd="0" presId="urn:microsoft.com/office/officeart/2005/8/layout/hierarchy3"/>
    <dgm:cxn modelId="{0495FEAC-BFFE-4119-8C03-DD37D75D83FA}" type="presOf" srcId="{4B710B1F-7F00-4176-8376-D51594A6B6D9}" destId="{2937C455-D2D3-4F68-AB4C-42FDD485D8C6}" srcOrd="0" destOrd="0" presId="urn:microsoft.com/office/officeart/2005/8/layout/hierarchy3"/>
    <dgm:cxn modelId="{0797D6B0-88E5-4E91-BD17-38881BF1FC17}" type="presOf" srcId="{F17F1358-CD5D-4C61-A104-38FAD3DCE1E0}" destId="{708D8021-C0C5-469D-87AA-07CD20DD4549}" srcOrd="0" destOrd="0" presId="urn:microsoft.com/office/officeart/2005/8/layout/hierarchy3"/>
    <dgm:cxn modelId="{4C471BC2-DC23-4A0F-A6CF-7B5EFD51A188}" srcId="{3E6C3280-AC2F-4C7A-9AEF-783694AD9125}" destId="{DC648DE9-BDDE-47A8-81F3-A959FD1297ED}" srcOrd="0" destOrd="0" parTransId="{E5A2F4F1-367B-4665-A7C8-AD9CA5ABEC2C}" sibTransId="{3E932220-C1A7-4DE7-839E-003C78B72851}"/>
    <dgm:cxn modelId="{3301BECE-865E-4810-8C50-ABDB03F11591}" type="presOf" srcId="{8CC2767A-485D-4301-825B-35A75D32D313}" destId="{5B8F671E-5E77-48D4-AD23-415D145D72FF}" srcOrd="0" destOrd="0" presId="urn:microsoft.com/office/officeart/2005/8/layout/hierarchy3"/>
    <dgm:cxn modelId="{5E2ED6D4-4E89-4603-86C1-F1CE350CCF6F}" srcId="{01A7B1B1-CE59-436E-B026-00284F1342FE}" destId="{6A587132-273B-4205-A489-FA8638966C5C}" srcOrd="1" destOrd="0" parTransId="{F5CD96FB-03D0-453A-A57A-EC12335AD19C}" sibTransId="{293BE61A-F222-4ED2-949A-3DF31D842AA5}"/>
    <dgm:cxn modelId="{C5A5B7D7-006B-4998-8A19-CBC33A20BCB1}" type="presOf" srcId="{80609054-2891-4980-B58E-C723EA7FBF7F}" destId="{31775304-2651-453F-BE24-5761B5BBEB7E}" srcOrd="0" destOrd="0" presId="urn:microsoft.com/office/officeart/2005/8/layout/hierarchy3"/>
    <dgm:cxn modelId="{E1ED4EE2-E3AB-4084-B183-42741FF4A29E}" srcId="{5F64E49C-400F-482F-932E-690765A0C022}" destId="{F17F1358-CD5D-4C61-A104-38FAD3DCE1E0}" srcOrd="1" destOrd="0" parTransId="{1D979EB2-6C66-4EB5-8CD3-C2EE4CB89D9C}" sibTransId="{6AF437D9-F12C-4FB1-B037-870DD31C1775}"/>
    <dgm:cxn modelId="{341D6CE4-37F6-4BF5-9B03-42DC09D416DE}" type="presOf" srcId="{1D979EB2-6C66-4EB5-8CD3-C2EE4CB89D9C}" destId="{82715789-5A6E-42E7-AE77-4CCA967CF352}" srcOrd="0" destOrd="0" presId="urn:microsoft.com/office/officeart/2005/8/layout/hierarchy3"/>
    <dgm:cxn modelId="{0A64E5E6-D41C-4415-9638-0EA5C92384B6}" type="presOf" srcId="{E41ED792-3296-4435-B02A-CE0999187114}" destId="{20401F6E-2218-4903-935B-57A86E61C90F}" srcOrd="0" destOrd="0" presId="urn:microsoft.com/office/officeart/2005/8/layout/hierarchy3"/>
    <dgm:cxn modelId="{4A00AEE9-846E-4D59-88A8-3592B194F874}" srcId="{5F64E49C-400F-482F-932E-690765A0C022}" destId="{BAC722E1-27E2-488A-8921-87D1A70D96DA}" srcOrd="3" destOrd="0" parTransId="{80609054-2891-4980-B58E-C723EA7FBF7F}" sibTransId="{2E13CE31-357A-4322-A040-4997982119CD}"/>
    <dgm:cxn modelId="{3C8A14EA-6067-4B7C-860F-22FCA33AB9BF}" type="presOf" srcId="{DC648DE9-BDDE-47A8-81F3-A959FD1297ED}" destId="{A5C9992D-A915-4490-ACC7-ABD9AC8810AA}" srcOrd="0" destOrd="0" presId="urn:microsoft.com/office/officeart/2005/8/layout/hierarchy3"/>
    <dgm:cxn modelId="{69DE7DFF-5522-42C4-9299-1C5EF7D26A5B}" type="presOf" srcId="{924B1A7E-B826-4BB0-8EF1-B0AC649F5B87}" destId="{2A0EE326-4461-49A0-8B28-B96F6D74D1B5}" srcOrd="0" destOrd="0" presId="urn:microsoft.com/office/officeart/2005/8/layout/hierarchy3"/>
    <dgm:cxn modelId="{7F4073A9-D188-494C-9762-53B25D48ABB1}" type="presParOf" srcId="{E70590A1-CB01-42ED-8C65-49DC0EF7BFCF}" destId="{4351C1D7-3B9A-469C-9872-E64D1675B52B}" srcOrd="0" destOrd="0" presId="urn:microsoft.com/office/officeart/2005/8/layout/hierarchy3"/>
    <dgm:cxn modelId="{75C77001-04E0-4F60-900B-8A8570F67E69}" type="presParOf" srcId="{4351C1D7-3B9A-469C-9872-E64D1675B52B}" destId="{7B6A32A6-A91F-481E-BF3C-567CD07F9EBB}" srcOrd="0" destOrd="0" presId="urn:microsoft.com/office/officeart/2005/8/layout/hierarchy3"/>
    <dgm:cxn modelId="{2411DBA9-E39F-4699-9822-901E8CF7E27D}" type="presParOf" srcId="{7B6A32A6-A91F-481E-BF3C-567CD07F9EBB}" destId="{D2B160AE-60EE-49B1-AB0B-296A6F051F5D}" srcOrd="0" destOrd="0" presId="urn:microsoft.com/office/officeart/2005/8/layout/hierarchy3"/>
    <dgm:cxn modelId="{3CCD8760-33FF-46EF-8716-6F66F4BC3283}" type="presParOf" srcId="{7B6A32A6-A91F-481E-BF3C-567CD07F9EBB}" destId="{66AF27FE-DEEE-4493-8AB6-2DF75BD76863}" srcOrd="1" destOrd="0" presId="urn:microsoft.com/office/officeart/2005/8/layout/hierarchy3"/>
    <dgm:cxn modelId="{9340DBA3-9F45-49D9-8EE5-8CEB1AC13E5B}" type="presParOf" srcId="{4351C1D7-3B9A-469C-9872-E64D1675B52B}" destId="{7E6EDE5B-5DCC-483F-BDEE-F8B742382690}" srcOrd="1" destOrd="0" presId="urn:microsoft.com/office/officeart/2005/8/layout/hierarchy3"/>
    <dgm:cxn modelId="{A41E64E0-DCCC-4387-8821-1DA4EE953C81}" type="presParOf" srcId="{7E6EDE5B-5DCC-483F-BDEE-F8B742382690}" destId="{2880CEAC-AF94-4C40-9A65-AB091322C543}" srcOrd="0" destOrd="0" presId="urn:microsoft.com/office/officeart/2005/8/layout/hierarchy3"/>
    <dgm:cxn modelId="{9B111AF6-6423-4493-B241-8BDA7AA495CA}" type="presParOf" srcId="{7E6EDE5B-5DCC-483F-BDEE-F8B742382690}" destId="{BE348649-D026-4AD6-85CA-2B877E9CAC35}" srcOrd="1" destOrd="0" presId="urn:microsoft.com/office/officeart/2005/8/layout/hierarchy3"/>
    <dgm:cxn modelId="{6B31F224-7F79-4FCD-A52C-E9D3E67D1858}" type="presParOf" srcId="{7E6EDE5B-5DCC-483F-BDEE-F8B742382690}" destId="{82715789-5A6E-42E7-AE77-4CCA967CF352}" srcOrd="2" destOrd="0" presId="urn:microsoft.com/office/officeart/2005/8/layout/hierarchy3"/>
    <dgm:cxn modelId="{448DEB76-B66B-4951-AB65-721583812901}" type="presParOf" srcId="{7E6EDE5B-5DCC-483F-BDEE-F8B742382690}" destId="{708D8021-C0C5-469D-87AA-07CD20DD4549}" srcOrd="3" destOrd="0" presId="urn:microsoft.com/office/officeart/2005/8/layout/hierarchy3"/>
    <dgm:cxn modelId="{49E0D2F9-79F3-493C-8E5F-F90BC89EDDCE}" type="presParOf" srcId="{7E6EDE5B-5DCC-483F-BDEE-F8B742382690}" destId="{2937C455-D2D3-4F68-AB4C-42FDD485D8C6}" srcOrd="4" destOrd="0" presId="urn:microsoft.com/office/officeart/2005/8/layout/hierarchy3"/>
    <dgm:cxn modelId="{EC0F2470-4D34-4835-A088-1E4FCFBA5954}" type="presParOf" srcId="{7E6EDE5B-5DCC-483F-BDEE-F8B742382690}" destId="{4C3688E5-D649-458A-839E-2FA2629520C7}" srcOrd="5" destOrd="0" presId="urn:microsoft.com/office/officeart/2005/8/layout/hierarchy3"/>
    <dgm:cxn modelId="{00D8F09D-442C-40E2-A335-CAC2C3F42F74}" type="presParOf" srcId="{7E6EDE5B-5DCC-483F-BDEE-F8B742382690}" destId="{31775304-2651-453F-BE24-5761B5BBEB7E}" srcOrd="6" destOrd="0" presId="urn:microsoft.com/office/officeart/2005/8/layout/hierarchy3"/>
    <dgm:cxn modelId="{77D3D870-D1E9-4553-9A2C-707F4BC88203}" type="presParOf" srcId="{7E6EDE5B-5DCC-483F-BDEE-F8B742382690}" destId="{6A61774E-83D5-4C66-A999-6CF5CF49A64C}" srcOrd="7" destOrd="0" presId="urn:microsoft.com/office/officeart/2005/8/layout/hierarchy3"/>
    <dgm:cxn modelId="{90D59F99-9644-4E5A-BA42-D2C0C2548BB4}" type="presParOf" srcId="{E70590A1-CB01-42ED-8C65-49DC0EF7BFCF}" destId="{9E4CA38E-236B-414C-937B-65B84A432F52}" srcOrd="1" destOrd="0" presId="urn:microsoft.com/office/officeart/2005/8/layout/hierarchy3"/>
    <dgm:cxn modelId="{DBF5F789-CF8D-4D27-A141-746333BECD95}" type="presParOf" srcId="{9E4CA38E-236B-414C-937B-65B84A432F52}" destId="{FA55899F-4636-465C-85F6-D23E39502DBD}" srcOrd="0" destOrd="0" presId="urn:microsoft.com/office/officeart/2005/8/layout/hierarchy3"/>
    <dgm:cxn modelId="{D23B518E-DBE7-456F-A655-A062760486F0}" type="presParOf" srcId="{FA55899F-4636-465C-85F6-D23E39502DBD}" destId="{67C2E270-FB59-4561-A7E8-476C78CD8D65}" srcOrd="0" destOrd="0" presId="urn:microsoft.com/office/officeart/2005/8/layout/hierarchy3"/>
    <dgm:cxn modelId="{AD53B8E5-C39A-4B2D-84CD-7BD53FD18B66}" type="presParOf" srcId="{FA55899F-4636-465C-85F6-D23E39502DBD}" destId="{FC1076BF-86E3-43BF-8D53-667BA5403AA5}" srcOrd="1" destOrd="0" presId="urn:microsoft.com/office/officeart/2005/8/layout/hierarchy3"/>
    <dgm:cxn modelId="{F72EC414-02AC-4E00-820F-54238FE08BAA}" type="presParOf" srcId="{9E4CA38E-236B-414C-937B-65B84A432F52}" destId="{4288AC2B-1765-4A47-A5DC-0F21AA7DD0D4}" srcOrd="1" destOrd="0" presId="urn:microsoft.com/office/officeart/2005/8/layout/hierarchy3"/>
    <dgm:cxn modelId="{3669207A-7BB1-41A9-9623-9530350FE5ED}" type="presParOf" srcId="{4288AC2B-1765-4A47-A5DC-0F21AA7DD0D4}" destId="{7600C868-8761-4D6B-970B-F745E516C266}" srcOrd="0" destOrd="0" presId="urn:microsoft.com/office/officeart/2005/8/layout/hierarchy3"/>
    <dgm:cxn modelId="{1E484C21-4767-451B-975C-1019947986E0}" type="presParOf" srcId="{4288AC2B-1765-4A47-A5DC-0F21AA7DD0D4}" destId="{A5C9992D-A915-4490-ACC7-ABD9AC8810AA}" srcOrd="1" destOrd="0" presId="urn:microsoft.com/office/officeart/2005/8/layout/hierarchy3"/>
    <dgm:cxn modelId="{111C5EBC-6996-46C8-AB35-80DADDA954DB}" type="presParOf" srcId="{4288AC2B-1765-4A47-A5DC-0F21AA7DD0D4}" destId="{0F5C3FBD-F0D7-457A-8A3D-F894E135081D}" srcOrd="2" destOrd="0" presId="urn:microsoft.com/office/officeart/2005/8/layout/hierarchy3"/>
    <dgm:cxn modelId="{2F90C6BB-437C-4E50-A557-F832FF216AC0}" type="presParOf" srcId="{4288AC2B-1765-4A47-A5DC-0F21AA7DD0D4}" destId="{0D4EFF92-B00F-433D-8E13-404EC2F306DD}" srcOrd="3" destOrd="0" presId="urn:microsoft.com/office/officeart/2005/8/layout/hierarchy3"/>
    <dgm:cxn modelId="{F98C808B-C11F-4DB0-9ADE-438566C2BB68}" type="presParOf" srcId="{4288AC2B-1765-4A47-A5DC-0F21AA7DD0D4}" destId="{5B8F671E-5E77-48D4-AD23-415D145D72FF}" srcOrd="4" destOrd="0" presId="urn:microsoft.com/office/officeart/2005/8/layout/hierarchy3"/>
    <dgm:cxn modelId="{445F1829-623C-4E31-B94A-F00158C5661C}" type="presParOf" srcId="{4288AC2B-1765-4A47-A5DC-0F21AA7DD0D4}" destId="{B1758A4B-FB01-4E33-B580-15E296A5DAF6}" srcOrd="5" destOrd="0" presId="urn:microsoft.com/office/officeart/2005/8/layout/hierarchy3"/>
    <dgm:cxn modelId="{BC72CD9B-3B43-48DA-B82E-8215539B765A}" type="presParOf" srcId="{4288AC2B-1765-4A47-A5DC-0F21AA7DD0D4}" destId="{924D06F6-7185-4D77-992C-D0E42528A2B9}" srcOrd="6" destOrd="0" presId="urn:microsoft.com/office/officeart/2005/8/layout/hierarchy3"/>
    <dgm:cxn modelId="{4DDF8161-70B5-4EED-8EF1-C0052E4B30C3}" type="presParOf" srcId="{4288AC2B-1765-4A47-A5DC-0F21AA7DD0D4}" destId="{20401F6E-2218-4903-935B-57A86E61C90F}" srcOrd="7" destOrd="0" presId="urn:microsoft.com/office/officeart/2005/8/layout/hierarchy3"/>
    <dgm:cxn modelId="{C37B5B48-E007-468E-8C99-83EE9CFD4325}" type="presParOf" srcId="{E70590A1-CB01-42ED-8C65-49DC0EF7BFCF}" destId="{B99A5C08-291D-495E-B605-44391234B86D}" srcOrd="2" destOrd="0" presId="urn:microsoft.com/office/officeart/2005/8/layout/hierarchy3"/>
    <dgm:cxn modelId="{FEAD158C-7DC3-4905-AA70-846C013C1D3E}" type="presParOf" srcId="{B99A5C08-291D-495E-B605-44391234B86D}" destId="{89A92BDF-B959-4160-8E20-68391CBF0155}" srcOrd="0" destOrd="0" presId="urn:microsoft.com/office/officeart/2005/8/layout/hierarchy3"/>
    <dgm:cxn modelId="{F56F4567-7575-4296-8600-E81092BF4F06}" type="presParOf" srcId="{89A92BDF-B959-4160-8E20-68391CBF0155}" destId="{FAF89C5A-7A86-4798-8D7C-6493155A2469}" srcOrd="0" destOrd="0" presId="urn:microsoft.com/office/officeart/2005/8/layout/hierarchy3"/>
    <dgm:cxn modelId="{E751F6C3-CBE5-4072-8109-F3411E41B08C}" type="presParOf" srcId="{89A92BDF-B959-4160-8E20-68391CBF0155}" destId="{AC3F0DCD-B575-4F76-93DC-D90C4B2CF804}" srcOrd="1" destOrd="0" presId="urn:microsoft.com/office/officeart/2005/8/layout/hierarchy3"/>
    <dgm:cxn modelId="{7E65161B-9BE5-440A-83E1-C61AB3C94406}" type="presParOf" srcId="{B99A5C08-291D-495E-B605-44391234B86D}" destId="{493E952A-5B84-4DA1-9FD2-229522C3550F}" srcOrd="1" destOrd="0" presId="urn:microsoft.com/office/officeart/2005/8/layout/hierarchy3"/>
    <dgm:cxn modelId="{BBF50165-C161-48B0-9668-B407C8682D30}" type="presParOf" srcId="{493E952A-5B84-4DA1-9FD2-229522C3550F}" destId="{BE3EAFF3-E1C7-4061-8753-EBACC9EDA0AF}" srcOrd="0" destOrd="0" presId="urn:microsoft.com/office/officeart/2005/8/layout/hierarchy3"/>
    <dgm:cxn modelId="{8AFF2B07-A6B9-4395-98A6-EF48AA09C87F}" type="presParOf" srcId="{493E952A-5B84-4DA1-9FD2-229522C3550F}" destId="{7F8FE4A9-0DE9-49DD-810F-605F5E5FF114}" srcOrd="1" destOrd="0" presId="urn:microsoft.com/office/officeart/2005/8/layout/hierarchy3"/>
    <dgm:cxn modelId="{53E562EE-E977-4687-9653-15ABF10040FD}" type="presParOf" srcId="{493E952A-5B84-4DA1-9FD2-229522C3550F}" destId="{F88DB0F4-A17F-4688-95B1-5FA6C6295493}" srcOrd="2" destOrd="0" presId="urn:microsoft.com/office/officeart/2005/8/layout/hierarchy3"/>
    <dgm:cxn modelId="{01A3BB01-DE49-4C8F-B4E8-D4E76A45D0BE}" type="presParOf" srcId="{493E952A-5B84-4DA1-9FD2-229522C3550F}" destId="{2925C952-3C69-4BC8-8352-D45A11665B31}" srcOrd="3" destOrd="0" presId="urn:microsoft.com/office/officeart/2005/8/layout/hierarchy3"/>
    <dgm:cxn modelId="{C8CAC8E0-FCAC-4DA3-AFC3-30DD50077954}" type="presParOf" srcId="{493E952A-5B84-4DA1-9FD2-229522C3550F}" destId="{EAAEDE6B-8CD4-4EFC-92C6-DE3061D75F24}" srcOrd="4" destOrd="0" presId="urn:microsoft.com/office/officeart/2005/8/layout/hierarchy3"/>
    <dgm:cxn modelId="{2D5EF161-C225-4EFF-BEDE-B16F7ADCC58F}" type="presParOf" srcId="{493E952A-5B84-4DA1-9FD2-229522C3550F}" destId="{03C82D46-1174-4CED-825B-3A011305C6ED}" srcOrd="5" destOrd="0" presId="urn:microsoft.com/office/officeart/2005/8/layout/hierarchy3"/>
    <dgm:cxn modelId="{4250EC1B-F1E2-4A29-800F-6B824FA22E12}" type="presParOf" srcId="{493E952A-5B84-4DA1-9FD2-229522C3550F}" destId="{2A0EE326-4461-49A0-8B28-B96F6D74D1B5}" srcOrd="6" destOrd="0" presId="urn:microsoft.com/office/officeart/2005/8/layout/hierarchy3"/>
    <dgm:cxn modelId="{1A3AB950-0266-420E-B36D-DAC647CCEC64}" type="presParOf" srcId="{493E952A-5B84-4DA1-9FD2-229522C3550F}" destId="{55815F01-5A78-42B0-8152-CF4C68EABA6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79D2EB8-6F3F-45C5-A330-4F0C3C093B55}" type="doc">
      <dgm:prSet loTypeId="urn:microsoft.com/office/officeart/2005/8/layout/vList4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de-CH"/>
        </a:p>
      </dgm:t>
    </dgm:pt>
    <dgm:pt modelId="{B01BF4F0-846B-41E4-ABF0-8C52DFCA769C}">
      <dgm:prSet phldrT="[Text]"/>
      <dgm:spPr/>
      <dgm:t>
        <a:bodyPr/>
        <a:lstStyle/>
        <a:p>
          <a:r>
            <a:rPr lang="de-CH" b="1" dirty="0"/>
            <a:t>Der Alarm geht los</a:t>
          </a:r>
        </a:p>
      </dgm:t>
    </dgm:pt>
    <dgm:pt modelId="{FEA5B3A7-B533-455D-B9EB-203E6B2FFD27}" type="parTrans" cxnId="{9E8D5B68-F3D8-4A5E-B143-95FC53EE6375}">
      <dgm:prSet/>
      <dgm:spPr/>
      <dgm:t>
        <a:bodyPr/>
        <a:lstStyle/>
        <a:p>
          <a:endParaRPr lang="de-CH"/>
        </a:p>
      </dgm:t>
    </dgm:pt>
    <dgm:pt modelId="{5985C960-FE4C-497A-8D4D-A00FD6F59162}" type="sibTrans" cxnId="{9E8D5B68-F3D8-4A5E-B143-95FC53EE6375}">
      <dgm:prSet/>
      <dgm:spPr/>
      <dgm:t>
        <a:bodyPr/>
        <a:lstStyle/>
        <a:p>
          <a:endParaRPr lang="de-CH"/>
        </a:p>
      </dgm:t>
    </dgm:pt>
    <dgm:pt modelId="{5CDF6587-F313-4E37-A947-C48C281BDCEF}">
      <dgm:prSet phldrT="[Text]"/>
      <dgm:spPr/>
      <dgm:t>
        <a:bodyPr/>
        <a:lstStyle/>
        <a:p>
          <a:r>
            <a:rPr lang="de-CH" b="1"/>
            <a:t>Kurslokal sofort verlassen</a:t>
          </a:r>
          <a:br>
            <a:rPr lang="de-CH" b="1"/>
          </a:br>
          <a:r>
            <a:rPr lang="de-CH" baseline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ift darf nicht benutzt werden</a:t>
          </a:r>
          <a:endParaRPr lang="de-CH" baseline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833E28F-73A7-4FF9-8AB9-40E76CE2090B}" type="parTrans" cxnId="{D16996D7-3558-4195-AF32-DC209F19112F}">
      <dgm:prSet/>
      <dgm:spPr/>
      <dgm:t>
        <a:bodyPr/>
        <a:lstStyle/>
        <a:p>
          <a:endParaRPr lang="de-CH"/>
        </a:p>
      </dgm:t>
    </dgm:pt>
    <dgm:pt modelId="{BC4F1AC2-188C-44BB-BCE2-02B8A50C3D84}" type="sibTrans" cxnId="{D16996D7-3558-4195-AF32-DC209F19112F}">
      <dgm:prSet/>
      <dgm:spPr/>
      <dgm:t>
        <a:bodyPr/>
        <a:lstStyle/>
        <a:p>
          <a:endParaRPr lang="de-CH"/>
        </a:p>
      </dgm:t>
    </dgm:pt>
    <dgm:pt modelId="{649B5A83-73FE-4029-87B5-AA9B245A5C8C}">
      <dgm:prSet phldrT="[Text]"/>
      <dgm:spPr/>
      <dgm:t>
        <a:bodyPr/>
        <a:lstStyle/>
        <a:p>
          <a:r>
            <a:rPr lang="de-CH" b="1" dirty="0"/>
            <a:t>Sammelplatz </a:t>
          </a:r>
          <a:br>
            <a:rPr lang="de-CH" b="1" dirty="0"/>
          </a:br>
          <a:r>
            <a:rPr lang="de-CH" dirty="0"/>
            <a:t>Gerbergasse 1 (vor Tchibo)</a:t>
          </a:r>
          <a:endParaRPr lang="de-CH" b="1" dirty="0"/>
        </a:p>
      </dgm:t>
    </dgm:pt>
    <dgm:pt modelId="{5952DAA4-CE8E-4818-A696-8FFC193A7A05}" type="parTrans" cxnId="{62BD2C21-413C-4D47-833A-653958350509}">
      <dgm:prSet/>
      <dgm:spPr/>
      <dgm:t>
        <a:bodyPr/>
        <a:lstStyle/>
        <a:p>
          <a:endParaRPr lang="de-CH"/>
        </a:p>
      </dgm:t>
    </dgm:pt>
    <dgm:pt modelId="{183FB3E5-2944-4918-B047-0704E47408A9}" type="sibTrans" cxnId="{62BD2C21-413C-4D47-833A-653958350509}">
      <dgm:prSet/>
      <dgm:spPr/>
      <dgm:t>
        <a:bodyPr/>
        <a:lstStyle/>
        <a:p>
          <a:endParaRPr lang="de-CH"/>
        </a:p>
      </dgm:t>
    </dgm:pt>
    <dgm:pt modelId="{14C9BCB2-1A35-41CE-BC05-4965821B6B38}">
      <dgm:prSet phldrT="[Text]"/>
      <dgm:spPr/>
      <dgm:t>
        <a:bodyPr/>
        <a:lstStyle/>
        <a:p>
          <a:r>
            <a:rPr lang="de-CH" b="1" dirty="0"/>
            <a:t>Auf weitere Anweisungen warten</a:t>
          </a:r>
        </a:p>
      </dgm:t>
    </dgm:pt>
    <dgm:pt modelId="{BDD95C1A-7D3D-4EA5-BCE9-83F886C0DAEF}" type="parTrans" cxnId="{57F82562-EC17-4FBE-AEDA-8FD3E281EF2A}">
      <dgm:prSet/>
      <dgm:spPr/>
      <dgm:t>
        <a:bodyPr/>
        <a:lstStyle/>
        <a:p>
          <a:endParaRPr lang="de-CH"/>
        </a:p>
      </dgm:t>
    </dgm:pt>
    <dgm:pt modelId="{02DC4228-E9E3-45D5-96E9-5096960F7B3C}" type="sibTrans" cxnId="{57F82562-EC17-4FBE-AEDA-8FD3E281EF2A}">
      <dgm:prSet/>
      <dgm:spPr/>
      <dgm:t>
        <a:bodyPr/>
        <a:lstStyle/>
        <a:p>
          <a:endParaRPr lang="de-CH"/>
        </a:p>
      </dgm:t>
    </dgm:pt>
    <dgm:pt modelId="{F1157215-4929-418A-9B63-EDA46456799A}" type="pres">
      <dgm:prSet presAssocID="{279D2EB8-6F3F-45C5-A330-4F0C3C093B55}" presName="linear" presStyleCnt="0">
        <dgm:presLayoutVars>
          <dgm:dir/>
          <dgm:resizeHandles val="exact"/>
        </dgm:presLayoutVars>
      </dgm:prSet>
      <dgm:spPr/>
    </dgm:pt>
    <dgm:pt modelId="{9A7286AC-B763-4AA4-BF7E-03C67AADEC08}" type="pres">
      <dgm:prSet presAssocID="{B01BF4F0-846B-41E4-ABF0-8C52DFCA769C}" presName="comp" presStyleCnt="0"/>
      <dgm:spPr/>
    </dgm:pt>
    <dgm:pt modelId="{3C8881AF-14D5-48E2-BC45-B5024F0E6934}" type="pres">
      <dgm:prSet presAssocID="{B01BF4F0-846B-41E4-ABF0-8C52DFCA769C}" presName="box" presStyleLbl="node1" presStyleIdx="0" presStyleCnt="4" custLinFactNeighborX="-4826" custLinFactNeighborY="-38"/>
      <dgm:spPr/>
    </dgm:pt>
    <dgm:pt modelId="{3482201B-E53C-48F8-8688-55931B1E52AD}" type="pres">
      <dgm:prSet presAssocID="{B01BF4F0-846B-41E4-ABF0-8C52DFCA769C}" presName="img" presStyleLbl="fgImgPlace1" presStyleIdx="0" presStyleCnt="4" custScaleX="34375" custScaleY="8086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D765E64B-BDDF-462A-AA93-9CF358335032}" type="pres">
      <dgm:prSet presAssocID="{B01BF4F0-846B-41E4-ABF0-8C52DFCA769C}" presName="text" presStyleLbl="node1" presStyleIdx="0" presStyleCnt="4">
        <dgm:presLayoutVars>
          <dgm:bulletEnabled val="1"/>
        </dgm:presLayoutVars>
      </dgm:prSet>
      <dgm:spPr/>
    </dgm:pt>
    <dgm:pt modelId="{7A097B1E-8887-4BEA-A4CA-3E8ABC898AFA}" type="pres">
      <dgm:prSet presAssocID="{5985C960-FE4C-497A-8D4D-A00FD6F59162}" presName="spacer" presStyleCnt="0"/>
      <dgm:spPr/>
    </dgm:pt>
    <dgm:pt modelId="{03D06343-C568-48D3-9144-0E1165E33BFA}" type="pres">
      <dgm:prSet presAssocID="{5CDF6587-F313-4E37-A947-C48C281BDCEF}" presName="comp" presStyleCnt="0"/>
      <dgm:spPr/>
    </dgm:pt>
    <dgm:pt modelId="{63FCBE08-18F6-4DFE-A078-7095923E87D1}" type="pres">
      <dgm:prSet presAssocID="{5CDF6587-F313-4E37-A947-C48C281BDCEF}" presName="box" presStyleLbl="node1" presStyleIdx="1" presStyleCnt="4"/>
      <dgm:spPr/>
    </dgm:pt>
    <dgm:pt modelId="{1B6A0881-4180-4585-87D9-920E58EBE714}" type="pres">
      <dgm:prSet presAssocID="{5CDF6587-F313-4E37-A947-C48C281BDCEF}" presName="img" presStyleLbl="fgImgPlace1" presStyleIdx="1" presStyleCnt="4" custScaleX="53694" custScaleY="57597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</dgm:spPr>
    </dgm:pt>
    <dgm:pt modelId="{C3680267-7248-4553-9B9E-C9C5B58F991E}" type="pres">
      <dgm:prSet presAssocID="{5CDF6587-F313-4E37-A947-C48C281BDCEF}" presName="text" presStyleLbl="node1" presStyleIdx="1" presStyleCnt="4">
        <dgm:presLayoutVars>
          <dgm:bulletEnabled val="1"/>
        </dgm:presLayoutVars>
      </dgm:prSet>
      <dgm:spPr/>
    </dgm:pt>
    <dgm:pt modelId="{8B9282D9-E9D6-439E-A18E-913A2C22085F}" type="pres">
      <dgm:prSet presAssocID="{BC4F1AC2-188C-44BB-BCE2-02B8A50C3D84}" presName="spacer" presStyleCnt="0"/>
      <dgm:spPr/>
    </dgm:pt>
    <dgm:pt modelId="{09A471F0-E800-4804-9A0D-D3C603350220}" type="pres">
      <dgm:prSet presAssocID="{649B5A83-73FE-4029-87B5-AA9B245A5C8C}" presName="comp" presStyleCnt="0"/>
      <dgm:spPr/>
    </dgm:pt>
    <dgm:pt modelId="{FE5D6E03-A3FE-450B-85CA-F00CF492A8BD}" type="pres">
      <dgm:prSet presAssocID="{649B5A83-73FE-4029-87B5-AA9B245A5C8C}" presName="box" presStyleLbl="node1" presStyleIdx="2" presStyleCnt="4"/>
      <dgm:spPr/>
    </dgm:pt>
    <dgm:pt modelId="{DB064863-8367-42D0-A85F-951952FA5BCA}" type="pres">
      <dgm:prSet presAssocID="{649B5A83-73FE-4029-87B5-AA9B245A5C8C}" presName="img" presStyleLbl="fgImgPlace1" presStyleIdx="2" presStyleCnt="4" custScaleX="4403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F75FC4B-B804-4C4B-A3F0-D3E2C6888A6E}" type="pres">
      <dgm:prSet presAssocID="{649B5A83-73FE-4029-87B5-AA9B245A5C8C}" presName="text" presStyleLbl="node1" presStyleIdx="2" presStyleCnt="4">
        <dgm:presLayoutVars>
          <dgm:bulletEnabled val="1"/>
        </dgm:presLayoutVars>
      </dgm:prSet>
      <dgm:spPr/>
    </dgm:pt>
    <dgm:pt modelId="{51C0A323-D6D0-4BDF-A428-816C3BE34750}" type="pres">
      <dgm:prSet presAssocID="{183FB3E5-2944-4918-B047-0704E47408A9}" presName="spacer" presStyleCnt="0"/>
      <dgm:spPr/>
    </dgm:pt>
    <dgm:pt modelId="{EF95D92E-F6AA-4F4E-A00A-8ED176AAE54C}" type="pres">
      <dgm:prSet presAssocID="{14C9BCB2-1A35-41CE-BC05-4965821B6B38}" presName="comp" presStyleCnt="0"/>
      <dgm:spPr/>
    </dgm:pt>
    <dgm:pt modelId="{2F1BB83A-E1AD-42C9-8CFC-9E634DDE5A09}" type="pres">
      <dgm:prSet presAssocID="{14C9BCB2-1A35-41CE-BC05-4965821B6B38}" presName="box" presStyleLbl="node1" presStyleIdx="3" presStyleCnt="4"/>
      <dgm:spPr/>
    </dgm:pt>
    <dgm:pt modelId="{452FB5CF-4D63-44C7-9B9D-D4888209CF7C}" type="pres">
      <dgm:prSet presAssocID="{14C9BCB2-1A35-41CE-BC05-4965821B6B38}" presName="img" presStyleLbl="fgImgPlace1" presStyleIdx="3" presStyleCnt="4" custScaleX="15057" custScaleY="10259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3000" r="-33000"/>
          </a:stretch>
        </a:blipFill>
      </dgm:spPr>
    </dgm:pt>
    <dgm:pt modelId="{23D160EF-108C-406C-8796-F247CD838F12}" type="pres">
      <dgm:prSet presAssocID="{14C9BCB2-1A35-41CE-BC05-4965821B6B38}" presName="text" presStyleLbl="node1" presStyleIdx="3" presStyleCnt="4">
        <dgm:presLayoutVars>
          <dgm:bulletEnabled val="1"/>
        </dgm:presLayoutVars>
      </dgm:prSet>
      <dgm:spPr/>
    </dgm:pt>
  </dgm:ptLst>
  <dgm:cxnLst>
    <dgm:cxn modelId="{A62FA90D-295E-4CC1-9E4D-2C6504C69176}" type="presOf" srcId="{5CDF6587-F313-4E37-A947-C48C281BDCEF}" destId="{C3680267-7248-4553-9B9E-C9C5B58F991E}" srcOrd="1" destOrd="0" presId="urn:microsoft.com/office/officeart/2005/8/layout/vList4"/>
    <dgm:cxn modelId="{49F60A21-4FB4-42E6-A886-5DA280EDAAE4}" type="presOf" srcId="{279D2EB8-6F3F-45C5-A330-4F0C3C093B55}" destId="{F1157215-4929-418A-9B63-EDA46456799A}" srcOrd="0" destOrd="0" presId="urn:microsoft.com/office/officeart/2005/8/layout/vList4"/>
    <dgm:cxn modelId="{62BD2C21-413C-4D47-833A-653958350509}" srcId="{279D2EB8-6F3F-45C5-A330-4F0C3C093B55}" destId="{649B5A83-73FE-4029-87B5-AA9B245A5C8C}" srcOrd="2" destOrd="0" parTransId="{5952DAA4-CE8E-4818-A696-8FFC193A7A05}" sibTransId="{183FB3E5-2944-4918-B047-0704E47408A9}"/>
    <dgm:cxn modelId="{DBAE9D3E-516E-4A1D-90AF-69E5EBD89F7A}" type="presOf" srcId="{B01BF4F0-846B-41E4-ABF0-8C52DFCA769C}" destId="{3C8881AF-14D5-48E2-BC45-B5024F0E6934}" srcOrd="0" destOrd="0" presId="urn:microsoft.com/office/officeart/2005/8/layout/vList4"/>
    <dgm:cxn modelId="{57F82562-EC17-4FBE-AEDA-8FD3E281EF2A}" srcId="{279D2EB8-6F3F-45C5-A330-4F0C3C093B55}" destId="{14C9BCB2-1A35-41CE-BC05-4965821B6B38}" srcOrd="3" destOrd="0" parTransId="{BDD95C1A-7D3D-4EA5-BCE9-83F886C0DAEF}" sibTransId="{02DC4228-E9E3-45D5-96E9-5096960F7B3C}"/>
    <dgm:cxn modelId="{FDFFFE65-9526-4C60-8205-3A8B058A6AA3}" type="presOf" srcId="{14C9BCB2-1A35-41CE-BC05-4965821B6B38}" destId="{2F1BB83A-E1AD-42C9-8CFC-9E634DDE5A09}" srcOrd="0" destOrd="0" presId="urn:microsoft.com/office/officeart/2005/8/layout/vList4"/>
    <dgm:cxn modelId="{9E8D5B68-F3D8-4A5E-B143-95FC53EE6375}" srcId="{279D2EB8-6F3F-45C5-A330-4F0C3C093B55}" destId="{B01BF4F0-846B-41E4-ABF0-8C52DFCA769C}" srcOrd="0" destOrd="0" parTransId="{FEA5B3A7-B533-455D-B9EB-203E6B2FFD27}" sibTransId="{5985C960-FE4C-497A-8D4D-A00FD6F59162}"/>
    <dgm:cxn modelId="{10AD614B-6202-4DEF-A8B0-260077556C4D}" type="presOf" srcId="{5CDF6587-F313-4E37-A947-C48C281BDCEF}" destId="{63FCBE08-18F6-4DFE-A078-7095923E87D1}" srcOrd="0" destOrd="0" presId="urn:microsoft.com/office/officeart/2005/8/layout/vList4"/>
    <dgm:cxn modelId="{0E8F4752-5E2D-438F-8775-69B79A281410}" type="presOf" srcId="{B01BF4F0-846B-41E4-ABF0-8C52DFCA769C}" destId="{D765E64B-BDDF-462A-AA93-9CF358335032}" srcOrd="1" destOrd="0" presId="urn:microsoft.com/office/officeart/2005/8/layout/vList4"/>
    <dgm:cxn modelId="{92483EC3-3F84-4BF8-A3BB-B2CF283BD106}" type="presOf" srcId="{649B5A83-73FE-4029-87B5-AA9B245A5C8C}" destId="{FE5D6E03-A3FE-450B-85CA-F00CF492A8BD}" srcOrd="0" destOrd="0" presId="urn:microsoft.com/office/officeart/2005/8/layout/vList4"/>
    <dgm:cxn modelId="{F16E61CC-0211-44FE-BF6E-CE683283F8B2}" type="presOf" srcId="{14C9BCB2-1A35-41CE-BC05-4965821B6B38}" destId="{23D160EF-108C-406C-8796-F247CD838F12}" srcOrd="1" destOrd="0" presId="urn:microsoft.com/office/officeart/2005/8/layout/vList4"/>
    <dgm:cxn modelId="{D16996D7-3558-4195-AF32-DC209F19112F}" srcId="{279D2EB8-6F3F-45C5-A330-4F0C3C093B55}" destId="{5CDF6587-F313-4E37-A947-C48C281BDCEF}" srcOrd="1" destOrd="0" parTransId="{0833E28F-73A7-4FF9-8AB9-40E76CE2090B}" sibTransId="{BC4F1AC2-188C-44BB-BCE2-02B8A50C3D84}"/>
    <dgm:cxn modelId="{D51363ED-0417-4376-961A-301375575513}" type="presOf" srcId="{649B5A83-73FE-4029-87B5-AA9B245A5C8C}" destId="{EF75FC4B-B804-4C4B-A3F0-D3E2C6888A6E}" srcOrd="1" destOrd="0" presId="urn:microsoft.com/office/officeart/2005/8/layout/vList4"/>
    <dgm:cxn modelId="{DC708DDD-81B5-47B8-A97F-466FFF12DA32}" type="presParOf" srcId="{F1157215-4929-418A-9B63-EDA46456799A}" destId="{9A7286AC-B763-4AA4-BF7E-03C67AADEC08}" srcOrd="0" destOrd="0" presId="urn:microsoft.com/office/officeart/2005/8/layout/vList4"/>
    <dgm:cxn modelId="{C0AC5628-AA7A-41C6-BA08-C4B3B85C0156}" type="presParOf" srcId="{9A7286AC-B763-4AA4-BF7E-03C67AADEC08}" destId="{3C8881AF-14D5-48E2-BC45-B5024F0E6934}" srcOrd="0" destOrd="0" presId="urn:microsoft.com/office/officeart/2005/8/layout/vList4"/>
    <dgm:cxn modelId="{510E54EE-BDD1-4EF5-8EFE-D6AB2604B355}" type="presParOf" srcId="{9A7286AC-B763-4AA4-BF7E-03C67AADEC08}" destId="{3482201B-E53C-48F8-8688-55931B1E52AD}" srcOrd="1" destOrd="0" presId="urn:microsoft.com/office/officeart/2005/8/layout/vList4"/>
    <dgm:cxn modelId="{9476034E-1F58-4F42-98C8-EC8D4EC57901}" type="presParOf" srcId="{9A7286AC-B763-4AA4-BF7E-03C67AADEC08}" destId="{D765E64B-BDDF-462A-AA93-9CF358335032}" srcOrd="2" destOrd="0" presId="urn:microsoft.com/office/officeart/2005/8/layout/vList4"/>
    <dgm:cxn modelId="{29B9A54B-E716-424B-A86C-A6C1ACFE8453}" type="presParOf" srcId="{F1157215-4929-418A-9B63-EDA46456799A}" destId="{7A097B1E-8887-4BEA-A4CA-3E8ABC898AFA}" srcOrd="1" destOrd="0" presId="urn:microsoft.com/office/officeart/2005/8/layout/vList4"/>
    <dgm:cxn modelId="{2360777E-7E92-4E01-B32F-38DDBFAADEF9}" type="presParOf" srcId="{F1157215-4929-418A-9B63-EDA46456799A}" destId="{03D06343-C568-48D3-9144-0E1165E33BFA}" srcOrd="2" destOrd="0" presId="urn:microsoft.com/office/officeart/2005/8/layout/vList4"/>
    <dgm:cxn modelId="{553E1D03-8C18-4954-8144-D22051AE91EE}" type="presParOf" srcId="{03D06343-C568-48D3-9144-0E1165E33BFA}" destId="{63FCBE08-18F6-4DFE-A078-7095923E87D1}" srcOrd="0" destOrd="0" presId="urn:microsoft.com/office/officeart/2005/8/layout/vList4"/>
    <dgm:cxn modelId="{E4C0CFC7-CBB2-4831-A33E-00819A8A93B3}" type="presParOf" srcId="{03D06343-C568-48D3-9144-0E1165E33BFA}" destId="{1B6A0881-4180-4585-87D9-920E58EBE714}" srcOrd="1" destOrd="0" presId="urn:microsoft.com/office/officeart/2005/8/layout/vList4"/>
    <dgm:cxn modelId="{DAAC0C86-27F0-4B22-A026-987EB6615407}" type="presParOf" srcId="{03D06343-C568-48D3-9144-0E1165E33BFA}" destId="{C3680267-7248-4553-9B9E-C9C5B58F991E}" srcOrd="2" destOrd="0" presId="urn:microsoft.com/office/officeart/2005/8/layout/vList4"/>
    <dgm:cxn modelId="{22DFE61E-CAD5-4587-909B-F6A51D5DA7DC}" type="presParOf" srcId="{F1157215-4929-418A-9B63-EDA46456799A}" destId="{8B9282D9-E9D6-439E-A18E-913A2C22085F}" srcOrd="3" destOrd="0" presId="urn:microsoft.com/office/officeart/2005/8/layout/vList4"/>
    <dgm:cxn modelId="{ABD30DD5-57A2-4497-85B6-B228097F24FF}" type="presParOf" srcId="{F1157215-4929-418A-9B63-EDA46456799A}" destId="{09A471F0-E800-4804-9A0D-D3C603350220}" srcOrd="4" destOrd="0" presId="urn:microsoft.com/office/officeart/2005/8/layout/vList4"/>
    <dgm:cxn modelId="{7DF15CAD-3E33-4868-8894-71D7BA103E5E}" type="presParOf" srcId="{09A471F0-E800-4804-9A0D-D3C603350220}" destId="{FE5D6E03-A3FE-450B-85CA-F00CF492A8BD}" srcOrd="0" destOrd="0" presId="urn:microsoft.com/office/officeart/2005/8/layout/vList4"/>
    <dgm:cxn modelId="{60969095-24CD-48D1-ADE7-5F3045A02677}" type="presParOf" srcId="{09A471F0-E800-4804-9A0D-D3C603350220}" destId="{DB064863-8367-42D0-A85F-951952FA5BCA}" srcOrd="1" destOrd="0" presId="urn:microsoft.com/office/officeart/2005/8/layout/vList4"/>
    <dgm:cxn modelId="{E17463BD-2973-485B-BE5B-EC7BF5662EA7}" type="presParOf" srcId="{09A471F0-E800-4804-9A0D-D3C603350220}" destId="{EF75FC4B-B804-4C4B-A3F0-D3E2C6888A6E}" srcOrd="2" destOrd="0" presId="urn:microsoft.com/office/officeart/2005/8/layout/vList4"/>
    <dgm:cxn modelId="{A6C1258E-46B3-49FD-A0DC-ED8F7D8FF5E0}" type="presParOf" srcId="{F1157215-4929-418A-9B63-EDA46456799A}" destId="{51C0A323-D6D0-4BDF-A428-816C3BE34750}" srcOrd="5" destOrd="0" presId="urn:microsoft.com/office/officeart/2005/8/layout/vList4"/>
    <dgm:cxn modelId="{B82D3C76-9B4F-4C57-AC0F-E8FE9032C462}" type="presParOf" srcId="{F1157215-4929-418A-9B63-EDA46456799A}" destId="{EF95D92E-F6AA-4F4E-A00A-8ED176AAE54C}" srcOrd="6" destOrd="0" presId="urn:microsoft.com/office/officeart/2005/8/layout/vList4"/>
    <dgm:cxn modelId="{26B26C84-B93A-414A-AFC0-417046FC7016}" type="presParOf" srcId="{EF95D92E-F6AA-4F4E-A00A-8ED176AAE54C}" destId="{2F1BB83A-E1AD-42C9-8CFC-9E634DDE5A09}" srcOrd="0" destOrd="0" presId="urn:microsoft.com/office/officeart/2005/8/layout/vList4"/>
    <dgm:cxn modelId="{F7C0D01B-42DF-48EB-B827-CF998A18707F}" type="presParOf" srcId="{EF95D92E-F6AA-4F4E-A00A-8ED176AAE54C}" destId="{452FB5CF-4D63-44C7-9B9D-D4888209CF7C}" srcOrd="1" destOrd="0" presId="urn:microsoft.com/office/officeart/2005/8/layout/vList4"/>
    <dgm:cxn modelId="{08109D18-1701-47F3-AA45-28921794CCA9}" type="presParOf" srcId="{EF95D92E-F6AA-4F4E-A00A-8ED176AAE54C}" destId="{23D160EF-108C-406C-8796-F247CD838F12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160AE-60EE-49B1-AB0B-296A6F051F5D}">
      <dsp:nvSpPr>
        <dsp:cNvPr id="0" name=""/>
        <dsp:cNvSpPr/>
      </dsp:nvSpPr>
      <dsp:spPr>
        <a:xfrm>
          <a:off x="525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Morgen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23053" y="1055991"/>
        <a:ext cx="1457376" cy="724123"/>
      </dsp:txXfrm>
    </dsp:sp>
    <dsp:sp modelId="{2880CEAC-AF94-4C40-9A65-AB091322C543}">
      <dsp:nvSpPr>
        <dsp:cNvPr id="0" name=""/>
        <dsp:cNvSpPr/>
      </dsp:nvSpPr>
      <dsp:spPr>
        <a:xfrm>
          <a:off x="150768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48649-D026-4AD6-85CA-2B877E9CAC35}">
      <dsp:nvSpPr>
        <dsp:cNvPr id="0" name=""/>
        <dsp:cNvSpPr/>
      </dsp:nvSpPr>
      <dsp:spPr>
        <a:xfrm>
          <a:off x="301011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18684" y="1971166"/>
        <a:ext cx="930095" cy="568055"/>
      </dsp:txXfrm>
    </dsp:sp>
    <dsp:sp modelId="{82715789-5A6E-42E7-AE77-4CCA967CF352}">
      <dsp:nvSpPr>
        <dsp:cNvPr id="0" name=""/>
        <dsp:cNvSpPr/>
      </dsp:nvSpPr>
      <dsp:spPr>
        <a:xfrm>
          <a:off x="150768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D8021-C0C5-469D-87AA-07CD20DD4549}">
      <dsp:nvSpPr>
        <dsp:cNvPr id="0" name=""/>
        <dsp:cNvSpPr/>
      </dsp:nvSpPr>
      <dsp:spPr>
        <a:xfrm>
          <a:off x="301011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08:15 Uhr</a:t>
          </a:r>
        </a:p>
      </dsp:txBody>
      <dsp:txXfrm>
        <a:off x="318684" y="2725418"/>
        <a:ext cx="1166600" cy="568055"/>
      </dsp:txXfrm>
    </dsp:sp>
    <dsp:sp modelId="{2937C455-D2D3-4F68-AB4C-42FDD485D8C6}">
      <dsp:nvSpPr>
        <dsp:cNvPr id="0" name=""/>
        <dsp:cNvSpPr/>
      </dsp:nvSpPr>
      <dsp:spPr>
        <a:xfrm>
          <a:off x="150768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688E5-D649-458A-839E-2FA2629520C7}">
      <dsp:nvSpPr>
        <dsp:cNvPr id="0" name=""/>
        <dsp:cNvSpPr/>
      </dsp:nvSpPr>
      <dsp:spPr>
        <a:xfrm>
          <a:off x="301011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18684" y="3479669"/>
        <a:ext cx="1166600" cy="568055"/>
      </dsp:txXfrm>
    </dsp:sp>
    <dsp:sp modelId="{31775304-2651-453F-BE24-5761B5BBEB7E}">
      <dsp:nvSpPr>
        <dsp:cNvPr id="0" name=""/>
        <dsp:cNvSpPr/>
      </dsp:nvSpPr>
      <dsp:spPr>
        <a:xfrm>
          <a:off x="150768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774E-83D5-4C66-A999-6CF5CF49A64C}">
      <dsp:nvSpPr>
        <dsp:cNvPr id="0" name=""/>
        <dsp:cNvSpPr/>
      </dsp:nvSpPr>
      <dsp:spPr>
        <a:xfrm>
          <a:off x="301011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1:55 Uhr</a:t>
          </a:r>
        </a:p>
      </dsp:txBody>
      <dsp:txXfrm>
        <a:off x="318684" y="4233921"/>
        <a:ext cx="1166600" cy="568055"/>
      </dsp:txXfrm>
    </dsp:sp>
    <dsp:sp modelId="{67C2E270-FB59-4561-A7E8-476C78CD8D65}">
      <dsp:nvSpPr>
        <dsp:cNvPr id="0" name=""/>
        <dsp:cNvSpPr/>
      </dsp:nvSpPr>
      <dsp:spPr>
        <a:xfrm>
          <a:off x="1804658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Nachmittag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1827186" y="1055991"/>
        <a:ext cx="1457376" cy="724123"/>
      </dsp:txXfrm>
    </dsp:sp>
    <dsp:sp modelId="{7600C868-8761-4D6B-970B-F745E516C266}">
      <dsp:nvSpPr>
        <dsp:cNvPr id="0" name=""/>
        <dsp:cNvSpPr/>
      </dsp:nvSpPr>
      <dsp:spPr>
        <a:xfrm>
          <a:off x="1954901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C9992D-A915-4490-ACC7-ABD9AC8810AA}">
      <dsp:nvSpPr>
        <dsp:cNvPr id="0" name=""/>
        <dsp:cNvSpPr/>
      </dsp:nvSpPr>
      <dsp:spPr>
        <a:xfrm>
          <a:off x="2105145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2122818" y="1971166"/>
        <a:ext cx="930095" cy="568055"/>
      </dsp:txXfrm>
    </dsp:sp>
    <dsp:sp modelId="{0F5C3FBD-F0D7-457A-8A3D-F894E135081D}">
      <dsp:nvSpPr>
        <dsp:cNvPr id="0" name=""/>
        <dsp:cNvSpPr/>
      </dsp:nvSpPr>
      <dsp:spPr>
        <a:xfrm>
          <a:off x="1954901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EFF92-B00F-433D-8E13-404EC2F306DD}">
      <dsp:nvSpPr>
        <dsp:cNvPr id="0" name=""/>
        <dsp:cNvSpPr/>
      </dsp:nvSpPr>
      <dsp:spPr>
        <a:xfrm>
          <a:off x="2105145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3:15 Uhr</a:t>
          </a:r>
        </a:p>
      </dsp:txBody>
      <dsp:txXfrm>
        <a:off x="2122818" y="2725418"/>
        <a:ext cx="1166600" cy="568055"/>
      </dsp:txXfrm>
    </dsp:sp>
    <dsp:sp modelId="{5B8F671E-5E77-48D4-AD23-415D145D72FF}">
      <dsp:nvSpPr>
        <dsp:cNvPr id="0" name=""/>
        <dsp:cNvSpPr/>
      </dsp:nvSpPr>
      <dsp:spPr>
        <a:xfrm>
          <a:off x="1954901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58A4B-FB01-4E33-B580-15E296A5DAF6}">
      <dsp:nvSpPr>
        <dsp:cNvPr id="0" name=""/>
        <dsp:cNvSpPr/>
      </dsp:nvSpPr>
      <dsp:spPr>
        <a:xfrm>
          <a:off x="2105145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2122818" y="3479669"/>
        <a:ext cx="1166600" cy="568055"/>
      </dsp:txXfrm>
    </dsp:sp>
    <dsp:sp modelId="{924D06F6-7185-4D77-992C-D0E42528A2B9}">
      <dsp:nvSpPr>
        <dsp:cNvPr id="0" name=""/>
        <dsp:cNvSpPr/>
      </dsp:nvSpPr>
      <dsp:spPr>
        <a:xfrm>
          <a:off x="1954901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401F6E-2218-4903-935B-57A86E61C90F}">
      <dsp:nvSpPr>
        <dsp:cNvPr id="0" name=""/>
        <dsp:cNvSpPr/>
      </dsp:nvSpPr>
      <dsp:spPr>
        <a:xfrm>
          <a:off x="2105145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6:40 Uhr</a:t>
          </a:r>
        </a:p>
      </dsp:txBody>
      <dsp:txXfrm>
        <a:off x="2122818" y="4233921"/>
        <a:ext cx="1166600" cy="568055"/>
      </dsp:txXfrm>
    </dsp:sp>
    <dsp:sp modelId="{FAF89C5A-7A86-4798-8D7C-6493155A2469}">
      <dsp:nvSpPr>
        <dsp:cNvPr id="0" name=""/>
        <dsp:cNvSpPr/>
      </dsp:nvSpPr>
      <dsp:spPr>
        <a:xfrm>
          <a:off x="3608791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Abend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3631319" y="1055991"/>
        <a:ext cx="1457376" cy="724123"/>
      </dsp:txXfrm>
    </dsp:sp>
    <dsp:sp modelId="{BE3EAFF3-E1C7-4061-8753-EBACC9EDA0AF}">
      <dsp:nvSpPr>
        <dsp:cNvPr id="0" name=""/>
        <dsp:cNvSpPr/>
      </dsp:nvSpPr>
      <dsp:spPr>
        <a:xfrm>
          <a:off x="3759035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8FE4A9-0DE9-49DD-810F-605F5E5FF114}">
      <dsp:nvSpPr>
        <dsp:cNvPr id="0" name=""/>
        <dsp:cNvSpPr/>
      </dsp:nvSpPr>
      <dsp:spPr>
        <a:xfrm>
          <a:off x="3909278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926951" y="1971166"/>
        <a:ext cx="930095" cy="568055"/>
      </dsp:txXfrm>
    </dsp:sp>
    <dsp:sp modelId="{F88DB0F4-A17F-4688-95B1-5FA6C6295493}">
      <dsp:nvSpPr>
        <dsp:cNvPr id="0" name=""/>
        <dsp:cNvSpPr/>
      </dsp:nvSpPr>
      <dsp:spPr>
        <a:xfrm>
          <a:off x="3759035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25C952-3C69-4BC8-8352-D45A11665B31}">
      <dsp:nvSpPr>
        <dsp:cNvPr id="0" name=""/>
        <dsp:cNvSpPr/>
      </dsp:nvSpPr>
      <dsp:spPr>
        <a:xfrm>
          <a:off x="3909278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8:10 Uhr</a:t>
          </a:r>
        </a:p>
      </dsp:txBody>
      <dsp:txXfrm>
        <a:off x="3926951" y="2725418"/>
        <a:ext cx="1166600" cy="568055"/>
      </dsp:txXfrm>
    </dsp:sp>
    <dsp:sp modelId="{EAAEDE6B-8CD4-4EFC-92C6-DE3061D75F24}">
      <dsp:nvSpPr>
        <dsp:cNvPr id="0" name=""/>
        <dsp:cNvSpPr/>
      </dsp:nvSpPr>
      <dsp:spPr>
        <a:xfrm>
          <a:off x="3759035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82D46-1174-4CED-825B-3A011305C6ED}">
      <dsp:nvSpPr>
        <dsp:cNvPr id="0" name=""/>
        <dsp:cNvSpPr/>
      </dsp:nvSpPr>
      <dsp:spPr>
        <a:xfrm>
          <a:off x="3909278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926951" y="3479669"/>
        <a:ext cx="1166600" cy="568055"/>
      </dsp:txXfrm>
    </dsp:sp>
    <dsp:sp modelId="{2A0EE326-4461-49A0-8B28-B96F6D74D1B5}">
      <dsp:nvSpPr>
        <dsp:cNvPr id="0" name=""/>
        <dsp:cNvSpPr/>
      </dsp:nvSpPr>
      <dsp:spPr>
        <a:xfrm>
          <a:off x="3759035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815F01-5A78-42B0-8152-CF4C68EABA67}">
      <dsp:nvSpPr>
        <dsp:cNvPr id="0" name=""/>
        <dsp:cNvSpPr/>
      </dsp:nvSpPr>
      <dsp:spPr>
        <a:xfrm>
          <a:off x="3909278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21:50 Uhr</a:t>
          </a:r>
        </a:p>
      </dsp:txBody>
      <dsp:txXfrm>
        <a:off x="3926951" y="4233921"/>
        <a:ext cx="1166600" cy="5680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881AF-14D5-48E2-BC45-B5024F0E6934}">
      <dsp:nvSpPr>
        <dsp:cNvPr id="0" name=""/>
        <dsp:cNvSpPr/>
      </dsp:nvSpPr>
      <dsp:spPr>
        <a:xfrm>
          <a:off x="0" y="0"/>
          <a:ext cx="7272338" cy="105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100" b="1" kern="1200" dirty="0"/>
            <a:t>Der Alarm geht los</a:t>
          </a:r>
        </a:p>
      </dsp:txBody>
      <dsp:txXfrm>
        <a:off x="1559660" y="0"/>
        <a:ext cx="5712677" cy="1051932"/>
      </dsp:txXfrm>
    </dsp:sp>
    <dsp:sp modelId="{3482201B-E53C-48F8-8688-55931B1E52AD}">
      <dsp:nvSpPr>
        <dsp:cNvPr id="0" name=""/>
        <dsp:cNvSpPr/>
      </dsp:nvSpPr>
      <dsp:spPr>
        <a:xfrm>
          <a:off x="582440" y="185699"/>
          <a:ext cx="499973" cy="68053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63FCBE08-18F6-4DFE-A078-7095923E87D1}">
      <dsp:nvSpPr>
        <dsp:cNvPr id="0" name=""/>
        <dsp:cNvSpPr/>
      </dsp:nvSpPr>
      <dsp:spPr>
        <a:xfrm>
          <a:off x="0" y="1157126"/>
          <a:ext cx="7272338" cy="105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3333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13333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100" b="1" kern="1200"/>
            <a:t>Kurslokal sofort verlassen</a:t>
          </a:r>
          <a:br>
            <a:rPr lang="de-CH" sz="3100" b="1" kern="1200"/>
          </a:br>
          <a:r>
            <a:rPr lang="de-CH" sz="3100" kern="1200" baseline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ift darf nicht benutzt werden</a:t>
          </a:r>
          <a:endParaRPr lang="de-CH" sz="3100" kern="1200" baseline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59660" y="1157126"/>
        <a:ext cx="5712677" cy="1051932"/>
      </dsp:txXfrm>
    </dsp:sp>
    <dsp:sp modelId="{1B6A0881-4180-4585-87D9-920E58EBE714}">
      <dsp:nvSpPr>
        <dsp:cNvPr id="0" name=""/>
        <dsp:cNvSpPr/>
      </dsp:nvSpPr>
      <dsp:spPr>
        <a:xfrm>
          <a:off x="441946" y="1440739"/>
          <a:ext cx="780961" cy="484705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E5D6E03-A3FE-450B-85CA-F00CF492A8BD}">
      <dsp:nvSpPr>
        <dsp:cNvPr id="0" name=""/>
        <dsp:cNvSpPr/>
      </dsp:nvSpPr>
      <dsp:spPr>
        <a:xfrm>
          <a:off x="0" y="2314252"/>
          <a:ext cx="7272338" cy="105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6667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26667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100" b="1" kern="1200" dirty="0"/>
            <a:t>Sammelplatz </a:t>
          </a:r>
          <a:br>
            <a:rPr lang="de-CH" sz="3100" b="1" kern="1200" dirty="0"/>
          </a:br>
          <a:r>
            <a:rPr lang="de-CH" sz="3100" kern="1200" dirty="0"/>
            <a:t>Gerbergasse 1 (vor Tchibo)</a:t>
          </a:r>
          <a:endParaRPr lang="de-CH" sz="3100" b="1" kern="1200" dirty="0"/>
        </a:p>
      </dsp:txBody>
      <dsp:txXfrm>
        <a:off x="1559660" y="2314252"/>
        <a:ext cx="5712677" cy="1051932"/>
      </dsp:txXfrm>
    </dsp:sp>
    <dsp:sp modelId="{DB064863-8367-42D0-A85F-951952FA5BCA}">
      <dsp:nvSpPr>
        <dsp:cNvPr id="0" name=""/>
        <dsp:cNvSpPr/>
      </dsp:nvSpPr>
      <dsp:spPr>
        <a:xfrm>
          <a:off x="512196" y="2419445"/>
          <a:ext cx="640460" cy="84154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2F1BB83A-E1AD-42C9-8CFC-9E634DDE5A09}">
      <dsp:nvSpPr>
        <dsp:cNvPr id="0" name=""/>
        <dsp:cNvSpPr/>
      </dsp:nvSpPr>
      <dsp:spPr>
        <a:xfrm>
          <a:off x="0" y="3471378"/>
          <a:ext cx="7272338" cy="105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100" b="1" kern="1200" dirty="0"/>
            <a:t>Auf weitere Anweisungen warten</a:t>
          </a:r>
        </a:p>
      </dsp:txBody>
      <dsp:txXfrm>
        <a:off x="1559660" y="3471378"/>
        <a:ext cx="5712677" cy="1051932"/>
      </dsp:txXfrm>
    </dsp:sp>
    <dsp:sp modelId="{452FB5CF-4D63-44C7-9B9D-D4888209CF7C}">
      <dsp:nvSpPr>
        <dsp:cNvPr id="0" name=""/>
        <dsp:cNvSpPr/>
      </dsp:nvSpPr>
      <dsp:spPr>
        <a:xfrm>
          <a:off x="722927" y="3565648"/>
          <a:ext cx="218999" cy="8633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3000" r="-33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ACB94-5BAC-4F55-A7FE-E6180EA7F687}" type="datetimeFigureOut">
              <a:rPr lang="en-GB" smtClean="0"/>
              <a:t>21/06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FD587-A6FE-45BE-A776-8C3214E1B1D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16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32BD7CE-1167-4F36-9CBA-4A98DD6F152D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C2847F-4CDD-4598-B1FC-2175A061C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FF548-0F02-400B-8A4E-BBEB34D659F2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95AC1-AB8B-499D-8568-C3EA39C1F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823CC-8172-4A40-8730-A3E74B5C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7364C-E8F1-4D33-B9F6-B7047B9F0A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6236" y="5467349"/>
            <a:ext cx="1027113" cy="102711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F12B1DC-F815-447B-B561-E875045FB3FF}"/>
              </a:ext>
            </a:extLst>
          </p:cNvPr>
          <p:cNvSpPr/>
          <p:nvPr userDrawn="1"/>
        </p:nvSpPr>
        <p:spPr>
          <a:xfrm>
            <a:off x="765175" y="6355834"/>
            <a:ext cx="256351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de-DE" sz="1050" dirty="0">
                <a:solidFill>
                  <a:srgbClr val="5656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Förderung des Migros-Kulturprozent </a:t>
            </a:r>
            <a:endParaRPr lang="de-DE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0631C4-3567-4EAF-9E64-54F84B217BA7}"/>
              </a:ext>
            </a:extLst>
          </p:cNvPr>
          <p:cNvSpPr>
            <a:spLocks/>
          </p:cNvSpPr>
          <p:nvPr userDrawn="1"/>
        </p:nvSpPr>
        <p:spPr>
          <a:xfrm>
            <a:off x="9420265" y="6355835"/>
            <a:ext cx="856004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ubschule.ch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2C7E70-B496-44F2-BB79-F2E899CEA154}"/>
              </a:ext>
            </a:extLst>
          </p:cNvPr>
          <p:cNvSpPr/>
          <p:nvPr userDrawn="1"/>
        </p:nvSpPr>
        <p:spPr>
          <a:xfrm>
            <a:off x="712788" y="797813"/>
            <a:ext cx="10850561" cy="230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EE0B7A-22F1-4AF0-8285-80CD8206F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2680" y="2388375"/>
            <a:ext cx="10210777" cy="323165"/>
          </a:xfrm>
        </p:spPr>
        <p:txBody>
          <a:bodyPr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D972485-8FF8-4561-A4DE-1FAAB5D1B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788" y="3101812"/>
            <a:ext cx="10850561" cy="1975263"/>
          </a:xfrm>
          <a:solidFill>
            <a:schemeClr val="bg1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1C5615-3647-4C0D-B997-78A377FD2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80" y="1792669"/>
            <a:ext cx="10210777" cy="484803"/>
          </a:xfrm>
        </p:spPr>
        <p:txBody>
          <a:bodyPr anchor="b"/>
          <a:lstStyle>
            <a:lvl1pPr algn="ctr">
              <a:defRPr b="1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751873-5FBF-4DDC-A8B6-AC8F64DF5C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330" y="401814"/>
            <a:ext cx="1253476" cy="119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573049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45B7C9F-1B4D-4D47-9FC2-7E99080F8299}" type="datetime4">
              <a:rPr lang="de-CH" smtClean="0"/>
              <a:pPr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86537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177658-C751-476E-BC8F-F323F6B4D0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02113" y="371251"/>
            <a:ext cx="720000" cy="72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EEE25028-DB22-457D-BCC7-43776CA5F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5531685"/>
            <a:ext cx="3321794" cy="640515"/>
          </a:xfrm>
          <a:solidFill>
            <a:schemeClr val="accent2"/>
          </a:solidFill>
        </p:spPr>
        <p:txBody>
          <a:bodyPr lIns="180000" tIns="180000" rIns="180000" bIns="180000" anchor="b">
            <a:spAutoFit/>
          </a:bodyPr>
          <a:lstStyle>
            <a:lvl1pPr algn="l">
              <a:lnSpc>
                <a:spcPct val="100000"/>
              </a:lnSpc>
              <a:defRPr sz="1800" b="1" cap="none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987679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langu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Gebäude, stehend enthält.&#10;&#10;Automatisch generierte Beschreibung">
            <a:extLst>
              <a:ext uri="{FF2B5EF4-FFF2-40B4-BE49-F238E27FC236}">
                <a16:creationId xmlns:a16="http://schemas.microsoft.com/office/drawing/2014/main" id="{509B3DB1-C833-4363-82CB-6D219AAA8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1" r="20576" b="15955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03FFDAD-7278-4FF1-88BA-92300F3B237C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D2589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210405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drinnen, Decke, Person enthält.&#10;&#10;Automatisch generierte Beschreibung">
            <a:extLst>
              <a:ext uri="{FF2B5EF4-FFF2-40B4-BE49-F238E27FC236}">
                <a16:creationId xmlns:a16="http://schemas.microsoft.com/office/drawing/2014/main" id="{D183536B-7AF1-42B7-98DF-3DB5A4713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" t="5665" r="13118" b="7901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2587A28-8F25-475E-88FE-AE45414EF51E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01A385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59611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crea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Schnee, stehend, draußen, Boden enthält.&#10;&#10;Automatisch generierte Beschreibung">
            <a:extLst>
              <a:ext uri="{FF2B5EF4-FFF2-40B4-BE49-F238E27FC236}">
                <a16:creationId xmlns:a16="http://schemas.microsoft.com/office/drawing/2014/main" id="{0A858858-852B-4D30-B995-35E08F057F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2" r="16456" b="11864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1114" y="6518631"/>
            <a:ext cx="1132033" cy="34674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2AC9BB-DDAE-46A0-870F-C343873B6595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2788" y="818984"/>
            <a:ext cx="3321794" cy="5677066"/>
          </a:xfrm>
          <a:solidFill>
            <a:srgbClr val="ED682F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361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4338" y="368300"/>
            <a:ext cx="1684407" cy="140709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6432609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Boden, stehend, drinnen enthält.&#10;&#10;Automatisch generierte Beschreibung">
            <a:extLst>
              <a:ext uri="{FF2B5EF4-FFF2-40B4-BE49-F238E27FC236}">
                <a16:creationId xmlns:a16="http://schemas.microsoft.com/office/drawing/2014/main" id="{D60931A2-CD41-4CF5-A5D9-FE2A5876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t="4383" r="14454" b="10083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03FFDAD-7278-4FF1-88BA-92300F3B237C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289CC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6476284-A482-4F97-9CD1-D60E05430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0420798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for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drinnen, stehend, Decke enthält.&#10;&#10;Automatisch generierte Beschreibung">
            <a:extLst>
              <a:ext uri="{FF2B5EF4-FFF2-40B4-BE49-F238E27FC236}">
                <a16:creationId xmlns:a16="http://schemas.microsoft.com/office/drawing/2014/main" id="{BB8F3825-195D-4F99-A67D-B5E0401552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1" t="10811" r="17801" b="10811"/>
          <a:stretch/>
        </p:blipFill>
        <p:spPr>
          <a:xfrm>
            <a:off x="0" y="1016"/>
            <a:ext cx="12192000" cy="685596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55E39B7-4CCD-4232-9700-31CDCC59F1C7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7E5396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2804848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drinnen, Boden, stehend, Decke enthält.&#10;&#10;Automatisch generierte Beschreibung">
            <a:extLst>
              <a:ext uri="{FF2B5EF4-FFF2-40B4-BE49-F238E27FC236}">
                <a16:creationId xmlns:a16="http://schemas.microsoft.com/office/drawing/2014/main" id="{9768C4D0-6155-4FE6-839E-94410B40D5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1" t="16201" r="24501" b="16201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227FFCB-41D3-44CE-A2C0-F654393FE8E8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950D33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045795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E8900F-6904-43AF-BF52-4D37B464865D}" type="datetimeFigureOut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21.06.2019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3820-4BE9-4E19-AAA7-324A974D78B7}" type="slidenum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670555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60000" y="468000"/>
            <a:ext cx="9696000" cy="1008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60000" y="1620001"/>
            <a:ext cx="9696000" cy="452596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E8900F-6904-43AF-BF52-4D37B464865D}" type="datetimeFigureOut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21.06.2019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3820-4BE9-4E19-AAA7-324A974D78B7}" type="slidenum">
              <a:rPr lang="de-CH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60041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>
            <a:lvl1pPr marL="288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b="1"/>
            </a:lvl1pPr>
            <a:lvl2pPr marL="576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 b="0"/>
            </a:lvl2pPr>
            <a:lvl3pPr marL="864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romanLcPeriod"/>
              <a:defRPr sz="1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55011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1114" y="6518631"/>
            <a:ext cx="1132033" cy="34674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8C33471-8F5F-4251-B732-5986E070C503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5A6508B-02C1-4A4E-9366-42B4E0D1E0E1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F331003-59CD-4DE5-A592-8E37428931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2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chemeClr val="accent2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361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DB12EE94-668B-4855-BE64-61D7C8A029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47663" y="368301"/>
            <a:ext cx="1253476" cy="119456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10293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332FE-E513-45C0-9C0F-189A651EF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A6432-5C48-48BE-BAC4-CD0699DF3497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765905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92782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4882588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ADE07766-CBCE-4B8D-AF60-1285287DA4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56091" y="1590338"/>
            <a:ext cx="4882588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94743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08561" y="1590338"/>
            <a:ext cx="6643109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3504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665607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16612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504" y="1590338"/>
            <a:ext cx="6643109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41836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89088"/>
            <a:ext cx="12192000" cy="45831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552690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A2333A8-4346-4BC3-BE40-49339B035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504" y="450232"/>
            <a:ext cx="10138167" cy="6362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4A800A0-EB66-4747-9E58-274539A0B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504" y="1590338"/>
            <a:ext cx="10125175" cy="4581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74DD6-C5D3-4A3A-B659-26AF7932B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04" y="6518631"/>
            <a:ext cx="1132033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0ED7B8F-C1DC-4CA5-AAD6-A8041F3BC45B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16E4AD-5597-4EA2-A523-4BEFA2C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5537" y="6518631"/>
            <a:ext cx="9006134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C6A50A-F83C-48C6-89E8-79FC5A8E6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1638" y="6509395"/>
            <a:ext cx="720000" cy="3559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5F3DEB-114D-42C1-A4EA-1EE70450C97D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2113" y="371251"/>
            <a:ext cx="720000" cy="720000"/>
          </a:xfrm>
          <a:prstGeom prst="rect">
            <a:avLst/>
          </a:prstGeom>
        </p:spPr>
      </p:pic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75BCA584-0D2D-40BB-95CE-D607F3C95A93}"/>
              </a:ext>
            </a:extLst>
          </p:cNvPr>
          <p:cNvCxnSpPr>
            <a:cxnSpLocks/>
          </p:cNvCxnSpPr>
          <p:nvPr userDrawn="1"/>
        </p:nvCxnSpPr>
        <p:spPr>
          <a:xfrm>
            <a:off x="713504" y="6518631"/>
            <a:ext cx="10125175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56DEDD93-E190-4C4F-B8CE-6A197B9E4206}"/>
              </a:ext>
            </a:extLst>
          </p:cNvPr>
          <p:cNvCxnSpPr>
            <a:cxnSpLocks/>
          </p:cNvCxnSpPr>
          <p:nvPr userDrawn="1"/>
        </p:nvCxnSpPr>
        <p:spPr>
          <a:xfrm>
            <a:off x="11102113" y="6518631"/>
            <a:ext cx="720000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98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51" r:id="rId3"/>
    <p:sldLayoutId id="2147483657" r:id="rId4"/>
    <p:sldLayoutId id="2147483649" r:id="rId5"/>
    <p:sldLayoutId id="2147483659" r:id="rId6"/>
    <p:sldLayoutId id="2147483658" r:id="rId7"/>
    <p:sldLayoutId id="2147483660" r:id="rId8"/>
    <p:sldLayoutId id="2147483661" r:id="rId9"/>
    <p:sldLayoutId id="2147483662" r:id="rId10"/>
    <p:sldLayoutId id="2147483656" r:id="rId11"/>
    <p:sldLayoutId id="2147483652" r:id="rId12"/>
    <p:sldLayoutId id="2147483655" r:id="rId13"/>
    <p:sldLayoutId id="2147483664" r:id="rId14"/>
    <p:sldLayoutId id="2147483653" r:id="rId15"/>
    <p:sldLayoutId id="2147483654" r:id="rId16"/>
    <p:sldLayoutId id="2147483665" r:id="rId17"/>
    <p:sldLayoutId id="2147483666" r:id="rId18"/>
  </p:sldLayoutIdLst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9" userDrawn="1">
          <p15:clr>
            <a:srgbClr val="F26B43"/>
          </p15:clr>
        </p15:guide>
        <p15:guide id="2" pos="6828" userDrawn="1">
          <p15:clr>
            <a:srgbClr val="F26B43"/>
          </p15:clr>
        </p15:guide>
        <p15:guide id="3" orient="horz" pos="284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  <p15:guide id="5" orient="horz" pos="1001" userDrawn="1">
          <p15:clr>
            <a:srgbClr val="F26B43"/>
          </p15:clr>
        </p15:guide>
        <p15:guide id="6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810948-8EDD-468F-9FA9-77781EA77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9A2B36-AF89-473C-A98C-9183E99D5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2C3EDAA-95D0-43CF-8411-5DD6057B17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Aldo Lehner, Sursee</a:t>
            </a:r>
            <a:endParaRPr lang="en-GB" dirty="0"/>
          </a:p>
        </p:txBody>
      </p:sp>
      <p:pic>
        <p:nvPicPr>
          <p:cNvPr id="15" name="Bildplatzhalter 14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32E941CE-7090-4D93-B4DD-7BDDBCF8BC1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46" b="45138"/>
          <a:stretch/>
        </p:blipFill>
        <p:spPr>
          <a:xfrm>
            <a:off x="712788" y="3101812"/>
            <a:ext cx="10850561" cy="1975263"/>
          </a:xfr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8939B03F-D1C0-4CBB-92DE-B84B6DAA5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 err="1"/>
              <a:t>zum</a:t>
            </a:r>
            <a:r>
              <a:rPr lang="en-GB" sz="3600" dirty="0"/>
              <a:t> </a:t>
            </a:r>
            <a:r>
              <a:rPr lang="en-GB" sz="3600" dirty="0" err="1"/>
              <a:t>kurs</a:t>
            </a:r>
            <a:r>
              <a:rPr lang="en-GB" sz="3600" dirty="0"/>
              <a:t> word advanced</a:t>
            </a:r>
            <a:endParaRPr lang="de-CH" sz="36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54C0046-42C4-400A-9E79-AD7B47AB76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7679" y="24470"/>
            <a:ext cx="1851257" cy="69828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1FEE147-D543-4779-B295-248FF0EC2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9620" y="54187"/>
            <a:ext cx="1253729" cy="127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344928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76DED42-F945-4B6E-A7F7-D84892147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3471-8F5F-4251-B732-5986E070C503}" type="datetime4">
              <a:rPr lang="de-CH" smtClean="0"/>
              <a:pPr/>
              <a:t>21. Juni 2019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CEF93B-6764-4702-9114-D478030B05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1077C4-2C2A-4CC2-86EF-FDDC7F120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FFDD4782-7FDC-4ABC-A1EF-63A05043AF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73" b="11373"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472C49-5673-489F-B897-73A1C8EF07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r>
              <a:rPr lang="en-GB" dirty="0"/>
              <a:t> </a:t>
            </a:r>
            <a:r>
              <a:rPr lang="en-GB" sz="1800" cap="none" dirty="0" err="1"/>
              <a:t>u.a.</a:t>
            </a:r>
            <a:endParaRPr lang="de-CH" sz="1800" cap="non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374227D-BE44-4257-A45D-4A82A96C0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361" y="2995448"/>
            <a:ext cx="3072650" cy="3043567"/>
          </a:xfrm>
        </p:spPr>
        <p:txBody>
          <a:bodyPr/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Vorlagen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Tabellen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Textformen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Deckblätter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Inhaltsverzeichnis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Seriendruck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Verweise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Verzeichnisse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CH" dirty="0"/>
              <a:t>Layout</a:t>
            </a:r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241D015-7BBD-4E26-941E-24908493C4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E7944A1-75FA-4DC1-B713-06EB4AF680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32462918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A6432-5C48-48BE-BAC4-CD0699DF3497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C03CD1-E769-4D0B-BF53-1E7E9F633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1355A42-1695-4D02-83AD-C20D2127440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7936226" cy="4581546"/>
          </a:xfrm>
        </p:spPr>
        <p:txBody>
          <a:bodyPr/>
          <a:lstStyle/>
          <a:p>
            <a:pPr lvl="2">
              <a:spcAft>
                <a:spcPts val="2400"/>
              </a:spcAft>
            </a:pPr>
            <a:r>
              <a:rPr lang="en-GB" dirty="0"/>
              <a:t>Allgemeine PC-</a:t>
            </a:r>
            <a:r>
              <a:rPr lang="en-GB" dirty="0" err="1"/>
              <a:t>Kenntnisse</a:t>
            </a:r>
            <a:r>
              <a:rPr lang="en-GB" dirty="0"/>
              <a:t> (Maus, </a:t>
            </a:r>
            <a:r>
              <a:rPr lang="en-GB" dirty="0" err="1"/>
              <a:t>Tastatur</a:t>
            </a:r>
            <a:r>
              <a:rPr lang="en-GB" dirty="0"/>
              <a:t>, </a:t>
            </a:r>
            <a:r>
              <a:rPr lang="en-GB" dirty="0" err="1"/>
              <a:t>Speichermedien</a:t>
            </a:r>
            <a:r>
              <a:rPr lang="en-GB" dirty="0"/>
              <a:t>)</a:t>
            </a:r>
          </a:p>
          <a:p>
            <a:pPr lvl="2">
              <a:spcAft>
                <a:spcPts val="2400"/>
              </a:spcAft>
            </a:pPr>
            <a:r>
              <a:rPr lang="en-GB" dirty="0" err="1"/>
              <a:t>Gute</a:t>
            </a:r>
            <a:r>
              <a:rPr lang="en-GB" dirty="0"/>
              <a:t> Word-</a:t>
            </a:r>
            <a:r>
              <a:rPr lang="en-GB" dirty="0" err="1"/>
              <a:t>Kenntnisse</a:t>
            </a:r>
            <a:endParaRPr lang="en-GB" dirty="0"/>
          </a:p>
          <a:p>
            <a:pPr lvl="2">
              <a:spcAft>
                <a:spcPts val="2400"/>
              </a:spcAft>
            </a:pPr>
            <a:r>
              <a:rPr lang="en-GB" dirty="0" err="1"/>
              <a:t>Kenntnisse</a:t>
            </a:r>
            <a:r>
              <a:rPr lang="en-GB" dirty="0"/>
              <a:t> in der </a:t>
            </a:r>
            <a:r>
              <a:rPr lang="en-GB" dirty="0" err="1"/>
              <a:t>Ablage</a:t>
            </a:r>
            <a:r>
              <a:rPr lang="en-GB" dirty="0"/>
              <a:t> von </a:t>
            </a:r>
            <a:r>
              <a:rPr lang="en-GB" dirty="0" err="1"/>
              <a:t>Dokumenten</a:t>
            </a:r>
            <a:endParaRPr lang="en-GB" dirty="0"/>
          </a:p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oraussetzung</a:t>
            </a:r>
          </a:p>
        </p:txBody>
      </p:sp>
      <p:pic>
        <p:nvPicPr>
          <p:cNvPr id="16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6E1D4794-A421-4D56-8D64-795D561636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>
          <a:xfrm>
            <a:off x="7716612" y="1590338"/>
            <a:ext cx="3135058" cy="458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949813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Die Kurszeiten sind ….</a:t>
            </a:r>
            <a:endParaRPr lang="de-CH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F7AF1-D852-40D4-BCD8-8CD1B711A842}" type="datetime1">
              <a:rPr lang="de-DE" smtClean="0"/>
              <a:pPr/>
              <a:t>21.06.2019</a:t>
            </a:fld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70F4C-B23B-4DA4-B81A-65A5A0AF65E7}" type="slidenum">
              <a:rPr lang="de-CH" smtClean="0"/>
              <a:pPr/>
              <a:t>4</a:t>
            </a:fld>
            <a:endParaRPr lang="de-CH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6362828"/>
              </p:ext>
            </p:extLst>
          </p:nvPr>
        </p:nvGraphicFramePr>
        <p:xfrm>
          <a:off x="5015880" y="273051"/>
          <a:ext cx="5111750" cy="5853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half" idx="4294967295"/>
          </p:nvPr>
        </p:nvSpPr>
        <p:spPr>
          <a:xfrm>
            <a:off x="1524001" y="1435101"/>
            <a:ext cx="3008313" cy="4691063"/>
          </a:xfrm>
        </p:spPr>
        <p:txBody>
          <a:bodyPr/>
          <a:lstStyle/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 dirty="0"/>
          </a:p>
        </p:txBody>
      </p:sp>
      <p:pic>
        <p:nvPicPr>
          <p:cNvPr id="3074" name="Picture 2" descr="C:\Documents and Settings\magy\Local Settings\Temporary Internet Files\Content.IE5\I0WY00ZQ\MCj04315860000[1]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52596" y="2357430"/>
            <a:ext cx="1828572" cy="1828572"/>
          </a:xfrm>
          <a:prstGeom prst="rect">
            <a:avLst/>
          </a:prstGeom>
          <a:noFill/>
        </p:spPr>
      </p:pic>
      <p:sp>
        <p:nvSpPr>
          <p:cNvPr id="9" name="Rechteck 8"/>
          <p:cNvSpPr/>
          <p:nvPr/>
        </p:nvSpPr>
        <p:spPr>
          <a:xfrm>
            <a:off x="617838" y="5425876"/>
            <a:ext cx="4192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dazwischen jeweils 20 Minuten Pause um ca.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538162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0:00 Uhr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7239008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5:00 Uhr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9024958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20:00 Uhr</a:t>
            </a:r>
          </a:p>
        </p:txBody>
      </p:sp>
    </p:spTree>
    <p:extLst>
      <p:ext uri="{BB962C8B-B14F-4D97-AF65-F5344CB8AC3E}">
        <p14:creationId xmlns:p14="http://schemas.microsoft.com/office/powerpoint/2010/main" val="1213339067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9" grpId="0"/>
      <p:bldP spid="10" grpId="0" animBg="1"/>
      <p:bldP spid="11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4000" y="468000"/>
            <a:ext cx="7488504" cy="1008000"/>
          </a:xfrm>
        </p:spPr>
        <p:txBody>
          <a:bodyPr/>
          <a:lstStyle/>
          <a:p>
            <a:r>
              <a:rPr lang="de-CH" dirty="0"/>
              <a:t>Verhalten bei Brandalarm in Luzern</a:t>
            </a:r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</p:nvPr>
        </p:nvGraphicFramePr>
        <p:xfrm>
          <a:off x="3143250" y="1619251"/>
          <a:ext cx="7272338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F7AF1-D852-40D4-BCD8-8CD1B711A842}" type="datetime1">
              <a:rPr lang="de-DE" smtClean="0"/>
              <a:pPr/>
              <a:t>21.06.2019</a:t>
            </a:fld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70F4C-B23B-4DA4-B81A-65A5A0AF65E7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8729122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313E68-63EE-4ED9-92DC-2DB9074BD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FDAD-7278-4FF1-88BA-92300F3B237C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7CE1FAD-B12E-4AF2-A97B-0397064EC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470974-7DD9-4B93-A354-3F5EA004E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E1E4CE-A565-40D6-B5A0-5DADF9877C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7708" y="818984"/>
            <a:ext cx="4399006" cy="5677066"/>
          </a:xfrm>
        </p:spPr>
        <p:txBody>
          <a:bodyPr/>
          <a:lstStyle/>
          <a:p>
            <a:r>
              <a:rPr lang="de-CH" dirty="0" err="1"/>
              <a:t>vorstellung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06620C5-B6A7-45E8-BECC-EDD235A02B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1276" y="3249827"/>
            <a:ext cx="4139513" cy="3239872"/>
          </a:xfrm>
        </p:spPr>
        <p:txBody>
          <a:bodyPr/>
          <a:lstStyle/>
          <a:p>
            <a:pPr marL="285750" indent="-285750" algn="l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de-CH" dirty="0"/>
              <a:t>Sie heissen… und kommen von…?</a:t>
            </a:r>
          </a:p>
          <a:p>
            <a:pPr marL="285750" indent="-285750" algn="l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de-CH" dirty="0"/>
              <a:t>Mit welchen Office-Programmen arbeiten Sie am Meisten?</a:t>
            </a:r>
          </a:p>
          <a:p>
            <a:pPr marL="285750" indent="-285750" algn="l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de-CH" dirty="0"/>
              <a:t>Kurs Word Basics besucht?</a:t>
            </a:r>
          </a:p>
          <a:p>
            <a:pPr marL="285750" indent="-285750" algn="l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de-CH" dirty="0"/>
              <a:t>Was erwarten Sie vom Kurs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9A26A3-785A-4DA2-8B30-6743BA6001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1343162-6EB6-45C6-9F61-521A9E1D3C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9C342C48-468F-400A-A6FE-19EDA2D99EF4}"/>
              </a:ext>
            </a:extLst>
          </p:cNvPr>
          <p:cNvSpPr txBox="1">
            <a:spLocks/>
          </p:cNvSpPr>
          <p:nvPr/>
        </p:nvSpPr>
        <p:spPr>
          <a:xfrm>
            <a:off x="1322129" y="224076"/>
            <a:ext cx="1887332" cy="175300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204767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t>21. Juni 2019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DB70A0-A873-458F-85D6-5F3BD8A0A1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9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E97957B3-3BC4-47E3-9EBE-F5E2420C9E6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/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AE0D79E-FCEE-4E6F-901A-AD953AEAF8D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1"/>
            <a:endParaRPr lang="en-GB" dirty="0"/>
          </a:p>
          <a:p>
            <a:endParaRPr lang="de-CH" dirty="0"/>
          </a:p>
        </p:txBody>
      </p:sp>
      <p:pic>
        <p:nvPicPr>
          <p:cNvPr id="8" name="Picture 4" descr="C:\Users\amrec0\AppData\Local\Microsoft\Windows\Temporary Internet Files\Content.IE5\8WIKTYL3\MC900433165[1].jpg">
            <a:extLst>
              <a:ext uri="{FF2B5EF4-FFF2-40B4-BE49-F238E27FC236}">
                <a16:creationId xmlns:a16="http://schemas.microsoft.com/office/drawing/2014/main" id="{FC9CFEE4-286C-4494-B8A0-6013C20647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537" y="1368235"/>
            <a:ext cx="6400800" cy="4803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492EC2-1E5C-48B6-BD15-CDD7B08C9DA9}"/>
              </a:ext>
            </a:extLst>
          </p:cNvPr>
          <p:cNvSpPr txBox="1">
            <a:spLocks/>
          </p:cNvSpPr>
          <p:nvPr/>
        </p:nvSpPr>
        <p:spPr>
          <a:xfrm>
            <a:off x="1322129" y="224076"/>
            <a:ext cx="1887332" cy="1753004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23031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82A8C4-0C2D-426B-9EF7-229CBD7C1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B7C9F-1B4D-4D47-9FC2-7E99080F8299}" type="datetime4">
              <a:rPr lang="de-CH" smtClean="0"/>
              <a:pPr/>
              <a:t>21. Juni 2019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5751F80-E423-4834-BD39-BFAF4ACA6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3C6618-D0B7-4F7A-AE83-A4CC783E6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C2263A1-96CB-4F1C-A570-2D2B49C97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C44AB234-2F78-4EC9-9410-6A0E7A1A2C8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3" b="11453"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5E5DB75-2EA0-4175-A202-9A8205150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B10424-6EAA-4456-B4FF-7751E1E5A9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3" y="3838914"/>
            <a:ext cx="4661685" cy="2333286"/>
          </a:xfrm>
        </p:spPr>
        <p:txBody>
          <a:bodyPr/>
          <a:lstStyle/>
          <a:p>
            <a:r>
              <a:rPr lang="de-CH" sz="3200" dirty="0"/>
              <a:t>Wir wünschen Ihnen viel Spass und Lernerfolg in </a:t>
            </a:r>
            <a:r>
              <a:rPr lang="de-CH" sz="3200"/>
              <a:t>diesem Kurs!</a:t>
            </a:r>
            <a:endParaRPr lang="de-CH" sz="3200" dirty="0"/>
          </a:p>
        </p:txBody>
      </p:sp>
    </p:spTree>
    <p:extLst>
      <p:ext uri="{BB962C8B-B14F-4D97-AF65-F5344CB8AC3E}">
        <p14:creationId xmlns:p14="http://schemas.microsoft.com/office/powerpoint/2010/main" val="260455135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aa100f7e-c8c6-4649-883c-228dfc36e83c"/>
  <p:tag name="MIO_UPDATE" val="True"/>
  <p:tag name="MIO_VERSION" val="05.11.2018 17:17:24"/>
  <p:tag name="MIO_DBID" val="E451C994-8A03-42B0-9A6A-1082179E3428"/>
  <p:tag name="MIO_LASTDOWNLOADED" val="05.11.2018 17:17:23"/>
  <p:tag name="MIO_OBJECTNAME" val="PPTX_Koordination Klubschulen_Präsentation_D_FW_05"/>
  <p:tag name="MIO_LASTEDITORNAME" val="LizardKing "/>
</p:tagLst>
</file>

<file path=ppt/theme/theme1.xml><?xml version="1.0" encoding="utf-8"?>
<a:theme xmlns:a="http://schemas.openxmlformats.org/drawingml/2006/main" name="Koordination Klubschulen">
  <a:themeElements>
    <a:clrScheme name="Koordination Klubschule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3A6"/>
      </a:accent1>
      <a:accent2>
        <a:srgbClr val="F4001B"/>
      </a:accent2>
      <a:accent3>
        <a:srgbClr val="028D36"/>
      </a:accent3>
      <a:accent4>
        <a:srgbClr val="FF6200"/>
      </a:accent4>
      <a:accent5>
        <a:srgbClr val="00A2B0"/>
      </a:accent5>
      <a:accent6>
        <a:srgbClr val="E33272"/>
      </a:accent6>
      <a:hlink>
        <a:srgbClr val="0053A6"/>
      </a:hlink>
      <a:folHlink>
        <a:srgbClr val="728490"/>
      </a:folHlink>
    </a:clrScheme>
    <a:fontScheme name="Koordination Klubschul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Klub Gesundheit Grün">
      <a:srgbClr val="01A385"/>
    </a:custClr>
    <a:custClr name="Klub Ausbildende Violett">
      <a:srgbClr val="7E5396"/>
    </a:custClr>
    <a:custClr name="Klub Firmen Rot">
      <a:srgbClr val="950D33"/>
    </a:custClr>
    <a:custClr name="Klub Kreativität Orange">
      <a:srgbClr val="ED682F"/>
    </a:custClr>
    <a:custClr name="Klub Sprachen Rosa">
      <a:srgbClr val="D2589C"/>
    </a:custClr>
  </a:custClrLst>
  <a:extLst>
    <a:ext uri="{05A4C25C-085E-4340-85A3-A5531E510DB2}">
      <thm15:themeFamily xmlns:thm15="http://schemas.microsoft.com/office/thememl/2012/main" name="PPTX_Master169_Koordination Klubschulen_FW_07.pptx" id="{EE79FC49-4A83-49B0-A74B-6C9E356DDB8F}" vid="{3D798F66-67CC-41AB-BDE5-D12A246A88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X_Master169_Koordination Klubschulen_FW_01</Template>
  <TotalTime>0</TotalTime>
  <Words>168</Words>
  <Application>Microsoft Office PowerPoint</Application>
  <PresentationFormat>Breitbild</PresentationFormat>
  <Paragraphs>72</Paragraphs>
  <Slides>8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Wingdings</vt:lpstr>
      <vt:lpstr>Koordination Klubschulen</vt:lpstr>
      <vt:lpstr>zum kurs word advanced</vt:lpstr>
      <vt:lpstr>PowerPoint-Präsentation</vt:lpstr>
      <vt:lpstr>Voraussetzung</vt:lpstr>
      <vt:lpstr>Die Kurszeiten sind ….</vt:lpstr>
      <vt:lpstr>Verhalten bei Brandalarm in Luzer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michael@folienwerke.onmicrosoft.com</dc:creator>
  <cp:lastModifiedBy>Aldo Lehner</cp:lastModifiedBy>
  <cp:revision>153</cp:revision>
  <dcterms:created xsi:type="dcterms:W3CDTF">2018-11-01T10:33:54Z</dcterms:created>
  <dcterms:modified xsi:type="dcterms:W3CDTF">2019-06-21T08:44:20Z</dcterms:modified>
</cp:coreProperties>
</file>